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notesSlides/notesSlide1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tags/tag48.xml" ContentType="application/vnd.openxmlformats-officedocument.presentationml.tags+xml"/>
  <Override PartName="/ppt/notesSlides/notesSlide14.xml" ContentType="application/vnd.openxmlformats-officedocument.presentationml.notesSlide+xml"/>
  <Override PartName="/ppt/tags/tag49.xml" ContentType="application/vnd.openxmlformats-officedocument.presentationml.tags+xml"/>
  <Override PartName="/ppt/notesSlides/notesSlide15.xml" ContentType="application/vnd.openxmlformats-officedocument.presentationml.notesSlide+xml"/>
  <Override PartName="/ppt/tags/tag50.xml" ContentType="application/vnd.openxmlformats-officedocument.presentationml.tags+xml"/>
  <Override PartName="/ppt/notesSlides/notesSlide16.xml" ContentType="application/vnd.openxmlformats-officedocument.presentationml.notesSlide+xml"/>
  <Override PartName="/ppt/tags/tag51.xml" ContentType="application/vnd.openxmlformats-officedocument.presentationml.tags+xml"/>
  <Override PartName="/ppt/notesSlides/notesSlide17.xml" ContentType="application/vnd.openxmlformats-officedocument.presentationml.notesSlide+xml"/>
  <Override PartName="/ppt/tags/tag52.xml" ContentType="application/vnd.openxmlformats-officedocument.presentationml.tags+xml"/>
  <Override PartName="/ppt/notesSlides/notesSlide18.xml" ContentType="application/vnd.openxmlformats-officedocument.presentationml.notesSlide+xml"/>
  <Override PartName="/ppt/tags/tag53.xml" ContentType="application/vnd.openxmlformats-officedocument.presentationml.tags+xml"/>
  <Override PartName="/ppt/notesSlides/notesSlide19.xml" ContentType="application/vnd.openxmlformats-officedocument.presentationml.notesSlide+xml"/>
  <Override PartName="/ppt/tags/tag54.xml" ContentType="application/vnd.openxmlformats-officedocument.presentationml.tags+xml"/>
  <Override PartName="/ppt/notesSlides/notesSlide20.xml" ContentType="application/vnd.openxmlformats-officedocument.presentationml.notesSlide+xml"/>
  <Override PartName="/ppt/tags/tag55.xml" ContentType="application/vnd.openxmlformats-officedocument.presentationml.tags+xml"/>
  <Override PartName="/ppt/notesSlides/notesSlide21.xml" ContentType="application/vnd.openxmlformats-officedocument.presentationml.notesSlide+xml"/>
  <Override PartName="/ppt/tags/tag56.xml" ContentType="application/vnd.openxmlformats-officedocument.presentationml.tags+xml"/>
  <Override PartName="/ppt/notesSlides/notesSlide2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3.xml" ContentType="application/vnd.openxmlformats-officedocument.presentationml.notesSlide+xml"/>
  <Override PartName="/ppt/tags/tag64.xml" ContentType="application/vnd.openxmlformats-officedocument.presentationml.tags+xml"/>
  <Override PartName="/ppt/notesSlides/notesSlide24.xml" ContentType="application/vnd.openxmlformats-officedocument.presentationml.notesSlide+xml"/>
  <Override PartName="/ppt/tags/tag65.xml" ContentType="application/vnd.openxmlformats-officedocument.presentationml.tags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7" r:id="rId1"/>
  </p:sldMasterIdLst>
  <p:notesMasterIdLst>
    <p:notesMasterId r:id="rId30"/>
  </p:notesMasterIdLst>
  <p:handoutMasterIdLst>
    <p:handoutMasterId r:id="rId31"/>
  </p:handoutMasterIdLst>
  <p:sldIdLst>
    <p:sldId id="597" r:id="rId2"/>
    <p:sldId id="2147377052" r:id="rId3"/>
    <p:sldId id="2147376788" r:id="rId4"/>
    <p:sldId id="2147377054" r:id="rId5"/>
    <p:sldId id="2147377053" r:id="rId6"/>
    <p:sldId id="2147376793" r:id="rId7"/>
    <p:sldId id="2147376802" r:id="rId8"/>
    <p:sldId id="2147376794" r:id="rId9"/>
    <p:sldId id="2147376795" r:id="rId10"/>
    <p:sldId id="2147376800" r:id="rId11"/>
    <p:sldId id="2147376801" r:id="rId12"/>
    <p:sldId id="2147376797" r:id="rId13"/>
    <p:sldId id="2147376798" r:id="rId14"/>
    <p:sldId id="2147376799" r:id="rId15"/>
    <p:sldId id="2147377043" r:id="rId16"/>
    <p:sldId id="2147377051" r:id="rId17"/>
    <p:sldId id="289" r:id="rId18"/>
    <p:sldId id="2147377050" r:id="rId19"/>
    <p:sldId id="441" r:id="rId20"/>
    <p:sldId id="2147377042" r:id="rId21"/>
    <p:sldId id="2147377002" r:id="rId22"/>
    <p:sldId id="2147377049" r:id="rId23"/>
    <p:sldId id="2147377044" r:id="rId24"/>
    <p:sldId id="2147377045" r:id="rId25"/>
    <p:sldId id="2147377046" r:id="rId26"/>
    <p:sldId id="408" r:id="rId27"/>
    <p:sldId id="2147377048" r:id="rId28"/>
    <p:sldId id="2147376792" r:id="rId29"/>
  </p:sldIdLst>
  <p:sldSz cx="9144000" cy="5143500" type="screen16x9"/>
  <p:notesSz cx="6858000" cy="9144000"/>
  <p:embeddedFontLst>
    <p:embeddedFont>
      <p:font typeface="IBM Plex Sans" panose="020B0503050203000203" pitchFamily="34" charset="0"/>
      <p:regular r:id="rId32"/>
      <p:bold r:id="rId33"/>
      <p:italic r:id="rId34"/>
      <p:boldItalic r:id="rId35"/>
    </p:embeddedFont>
    <p:embeddedFont>
      <p:font typeface="Impact" panose="020B0806030902050204" pitchFamily="34" charset="0"/>
      <p:regular r:id="rId36"/>
    </p:embeddedFont>
    <p:embeddedFont>
      <p:font typeface="Montserrat" panose="00000500000000000000" pitchFamily="2" charset="0"/>
      <p:regular r:id="rId37"/>
      <p:bold r:id="rId38"/>
      <p:italic r:id="rId39"/>
      <p:boldItalic r:id="rId40"/>
    </p:embeddedFont>
    <p:embeddedFont>
      <p:font typeface="Montserrat SemiBold" panose="00000700000000000000" pitchFamily="2" charset="0"/>
      <p:regular r:id="rId41"/>
      <p:bold r:id="rId42"/>
      <p:italic r:id="rId43"/>
      <p:boldItalic r:id="rId44"/>
    </p:embeddedFont>
  </p:embeddedFontLst>
  <p:custDataLst>
    <p:tags r:id="rId4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whney, Viraj" initials="SV" lastIdx="14" clrIdx="0">
    <p:extLst>
      <p:ext uri="{19B8F6BF-5375-455C-9EA6-DF929625EA0E}">
        <p15:presenceInfo xmlns:p15="http://schemas.microsoft.com/office/powerpoint/2012/main" userId="S::viraj.sawhney@warburgpincus.com::ec1c7233-9e59-4d08-829d-76f6c1342d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EEFF"/>
    <a:srgbClr val="3C69A0"/>
    <a:srgbClr val="4E81BE"/>
    <a:srgbClr val="719ACB"/>
    <a:srgbClr val="95B3D7"/>
    <a:srgbClr val="B9CDE5"/>
    <a:srgbClr val="DCE6F2"/>
    <a:srgbClr val="521C96"/>
    <a:srgbClr val="00B0F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AF054F-2CD1-4324-91AD-8690B59512BD}" v="357" dt="2025-01-04T00:38:30.200"/>
  </p1510:revLst>
</p1510:revInfo>
</file>

<file path=ppt/tableStyles.xml><?xml version="1.0" encoding="utf-8"?>
<a:tblStyleLst xmlns:a="http://schemas.openxmlformats.org/drawingml/2006/main" def="{8AB8526A-58E8-4FAA-9410-1DA658D63A05}">
  <a:tblStyle styleId="{8AB8526A-58E8-4FAA-9410-1DA658D63A05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5421" autoAdjust="0"/>
    <p:restoredTop sz="94721"/>
  </p:normalViewPr>
  <p:slideViewPr>
    <p:cSldViewPr snapToGrid="0">
      <p:cViewPr varScale="1">
        <p:scale>
          <a:sx n="144" d="100"/>
          <a:sy n="144" d="100"/>
        </p:scale>
        <p:origin x="6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237" y="2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8.fntdata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55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tags" Target="tags/tag1.xml"/><Relationship Id="rId53" Type="http://schemas.openxmlformats.org/officeDocument/2006/relationships/customXml" Target="../customXml/item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4" Type="http://schemas.openxmlformats.org/officeDocument/2006/relationships/font" Target="fonts/font13.fntdata"/><Relationship Id="rId52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microsoft.com/office/2016/11/relationships/changesInfo" Target="changesInfos/changesInfo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font" Target="fonts/font10.fntdata"/><Relationship Id="rId54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4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hua Kanter" userId="fe4e1fa3-be57-48cb-ad9c-b9653d9dc11a" providerId="ADAL" clId="{11AF054F-2CD1-4324-91AD-8690B59512BD}"/>
    <pc:docChg chg="undo custSel addSld delSld modSld sldOrd modMainMaster">
      <pc:chgData name="Joshua Kanter" userId="fe4e1fa3-be57-48cb-ad9c-b9653d9dc11a" providerId="ADAL" clId="{11AF054F-2CD1-4324-91AD-8690B59512BD}" dt="2025-01-04T00:38:30.200" v="551"/>
      <pc:docMkLst>
        <pc:docMk/>
      </pc:docMkLst>
      <pc:sldChg chg="del">
        <pc:chgData name="Joshua Kanter" userId="fe4e1fa3-be57-48cb-ad9c-b9653d9dc11a" providerId="ADAL" clId="{11AF054F-2CD1-4324-91AD-8690B59512BD}" dt="2025-01-04T00:28:39.116" v="297" actId="47"/>
        <pc:sldMkLst>
          <pc:docMk/>
          <pc:sldMk cId="3568443176" sldId="2147376796"/>
        </pc:sldMkLst>
      </pc:sldChg>
      <pc:sldChg chg="modSp mod">
        <pc:chgData name="Joshua Kanter" userId="fe4e1fa3-be57-48cb-ad9c-b9653d9dc11a" providerId="ADAL" clId="{11AF054F-2CD1-4324-91AD-8690B59512BD}" dt="2025-01-04T00:27:22.407" v="296"/>
        <pc:sldMkLst>
          <pc:docMk/>
          <pc:sldMk cId="4106685361" sldId="2147376798"/>
        </pc:sldMkLst>
        <pc:spChg chg="mod">
          <ac:chgData name="Joshua Kanter" userId="fe4e1fa3-be57-48cb-ad9c-b9653d9dc11a" providerId="ADAL" clId="{11AF054F-2CD1-4324-91AD-8690B59512BD}" dt="2025-01-04T00:27:22.407" v="294" actId="20577"/>
          <ac:spMkLst>
            <pc:docMk/>
            <pc:sldMk cId="4106685361" sldId="2147376798"/>
            <ac:spMk id="2" creationId="{F849001D-7B45-7068-DD3F-94AA62657893}"/>
          </ac:spMkLst>
        </pc:spChg>
        <pc:graphicFrameChg chg="mod">
          <ac:chgData name="Joshua Kanter" userId="fe4e1fa3-be57-48cb-ad9c-b9653d9dc11a" providerId="ADAL" clId="{11AF054F-2CD1-4324-91AD-8690B59512BD}" dt="2025-01-04T00:27:22.407" v="296"/>
          <ac:graphicFrameMkLst>
            <pc:docMk/>
            <pc:sldMk cId="4106685361" sldId="2147376798"/>
            <ac:graphicFrameMk id="6" creationId="{D0BBA3EA-78B2-7DBC-9C85-8C5A928684A6}"/>
          </ac:graphicFrameMkLst>
        </pc:graphicFrameChg>
      </pc:sldChg>
      <pc:sldChg chg="new">
        <pc:chgData name="Joshua Kanter" userId="fe4e1fa3-be57-48cb-ad9c-b9653d9dc11a" providerId="ADAL" clId="{11AF054F-2CD1-4324-91AD-8690B59512BD}" dt="2025-01-04T00:25:20.722" v="286" actId="680"/>
        <pc:sldMkLst>
          <pc:docMk/>
          <pc:sldMk cId="2360522094" sldId="2147377052"/>
        </pc:sldMkLst>
      </pc:sldChg>
      <pc:sldChg chg="new ord">
        <pc:chgData name="Joshua Kanter" userId="fe4e1fa3-be57-48cb-ad9c-b9653d9dc11a" providerId="ADAL" clId="{11AF054F-2CD1-4324-91AD-8690B59512BD}" dt="2025-01-04T00:37:27.137" v="445"/>
        <pc:sldMkLst>
          <pc:docMk/>
          <pc:sldMk cId="3839660198" sldId="2147377053"/>
        </pc:sldMkLst>
      </pc:sldChg>
      <pc:sldChg chg="new">
        <pc:chgData name="Joshua Kanter" userId="fe4e1fa3-be57-48cb-ad9c-b9653d9dc11a" providerId="ADAL" clId="{11AF054F-2CD1-4324-91AD-8690B59512BD}" dt="2025-01-04T00:37:34.553" v="446" actId="680"/>
        <pc:sldMkLst>
          <pc:docMk/>
          <pc:sldMk cId="2717806391" sldId="2147377054"/>
        </pc:sldMkLst>
      </pc:sldChg>
      <pc:sldMasterChg chg="addSldLayout modSldLayout sldLayoutOrd">
        <pc:chgData name="Joshua Kanter" userId="fe4e1fa3-be57-48cb-ad9c-b9653d9dc11a" providerId="ADAL" clId="{11AF054F-2CD1-4324-91AD-8690B59512BD}" dt="2025-01-04T00:38:30.200" v="551"/>
        <pc:sldMasterMkLst>
          <pc:docMk/>
          <pc:sldMasterMk cId="0" sldId="2147483657"/>
        </pc:sldMasterMkLst>
        <pc:sldLayoutChg chg="addSp delSp modSp mod">
          <pc:chgData name="Joshua Kanter" userId="fe4e1fa3-be57-48cb-ad9c-b9653d9dc11a" providerId="ADAL" clId="{11AF054F-2CD1-4324-91AD-8690B59512BD}" dt="2025-01-04T00:34:00.278" v="394"/>
          <pc:sldLayoutMkLst>
            <pc:docMk/>
            <pc:sldMasterMk cId="0" sldId="2147483657"/>
            <pc:sldLayoutMk cId="106328132" sldId="2147483659"/>
          </pc:sldLayoutMkLst>
          <pc:spChg chg="add mod">
            <ac:chgData name="Joshua Kanter" userId="fe4e1fa3-be57-48cb-ad9c-b9653d9dc11a" providerId="ADAL" clId="{11AF054F-2CD1-4324-91AD-8690B59512BD}" dt="2025-01-04T00:33:24.251" v="389" actId="1076"/>
            <ac:spMkLst>
              <pc:docMk/>
              <pc:sldMasterMk cId="0" sldId="2147483657"/>
              <pc:sldLayoutMk cId="106328132" sldId="2147483659"/>
              <ac:spMk id="3" creationId="{399051AD-1433-AF0F-2CF6-DDC801478B8C}"/>
            </ac:spMkLst>
          </pc:spChg>
          <pc:spChg chg="add mod">
            <ac:chgData name="Joshua Kanter" userId="fe4e1fa3-be57-48cb-ad9c-b9653d9dc11a" providerId="ADAL" clId="{11AF054F-2CD1-4324-91AD-8690B59512BD}" dt="2025-01-04T00:34:00.278" v="394"/>
            <ac:spMkLst>
              <pc:docMk/>
              <pc:sldMasterMk cId="0" sldId="2147483657"/>
              <pc:sldLayoutMk cId="106328132" sldId="2147483659"/>
              <ac:spMk id="6" creationId="{E345FAD9-4D20-FCD3-5CD1-9C0C57E17B28}"/>
            </ac:spMkLst>
          </pc:spChg>
          <pc:spChg chg="mod">
            <ac:chgData name="Joshua Kanter" userId="fe4e1fa3-be57-48cb-ad9c-b9653d9dc11a" providerId="ADAL" clId="{11AF054F-2CD1-4324-91AD-8690B59512BD}" dt="2025-01-04T00:22:57.063" v="32" actId="1076"/>
            <ac:spMkLst>
              <pc:docMk/>
              <pc:sldMasterMk cId="0" sldId="2147483657"/>
              <pc:sldLayoutMk cId="106328132" sldId="2147483659"/>
              <ac:spMk id="9" creationId="{DA183329-16D9-452C-8963-B4F08933A277}"/>
            </ac:spMkLst>
          </pc:spChg>
          <pc:spChg chg="del">
            <ac:chgData name="Joshua Kanter" userId="fe4e1fa3-be57-48cb-ad9c-b9653d9dc11a" providerId="ADAL" clId="{11AF054F-2CD1-4324-91AD-8690B59512BD}" dt="2025-01-04T00:33:59.967" v="393" actId="478"/>
            <ac:spMkLst>
              <pc:docMk/>
              <pc:sldMasterMk cId="0" sldId="2147483657"/>
              <pc:sldLayoutMk cId="106328132" sldId="2147483659"/>
              <ac:spMk id="24" creationId="{00000000-0000-0000-0000-000000000000}"/>
            </ac:spMkLst>
          </pc:spChg>
          <pc:spChg chg="mod">
            <ac:chgData name="Joshua Kanter" userId="fe4e1fa3-be57-48cb-ad9c-b9653d9dc11a" providerId="ADAL" clId="{11AF054F-2CD1-4324-91AD-8690B59512BD}" dt="2025-01-04T00:21:38.711" v="3" actId="20577"/>
            <ac:spMkLst>
              <pc:docMk/>
              <pc:sldMasterMk cId="0" sldId="2147483657"/>
              <pc:sldLayoutMk cId="106328132" sldId="2147483659"/>
              <ac:spMk id="25" creationId="{00000000-0000-0000-0000-000000000000}"/>
            </ac:spMkLst>
          </pc:spChg>
          <pc:spChg chg="mod">
            <ac:chgData name="Joshua Kanter" userId="fe4e1fa3-be57-48cb-ad9c-b9653d9dc11a" providerId="ADAL" clId="{11AF054F-2CD1-4324-91AD-8690B59512BD}" dt="2025-01-04T00:23:54.527" v="195" actId="20577"/>
            <ac:spMkLst>
              <pc:docMk/>
              <pc:sldMasterMk cId="0" sldId="2147483657"/>
              <pc:sldLayoutMk cId="106328132" sldId="2147483659"/>
              <ac:spMk id="26" creationId="{00000000-0000-0000-0000-000000000000}"/>
            </ac:spMkLst>
          </pc:spChg>
          <pc:graphicFrameChg chg="mod">
            <ac:chgData name="Joshua Kanter" userId="fe4e1fa3-be57-48cb-ad9c-b9653d9dc11a" providerId="ADAL" clId="{11AF054F-2CD1-4324-91AD-8690B59512BD}" dt="2025-01-04T00:23:55.028" v="197"/>
            <ac:graphicFrameMkLst>
              <pc:docMk/>
              <pc:sldMasterMk cId="0" sldId="2147483657"/>
              <pc:sldLayoutMk cId="106328132" sldId="2147483659"/>
              <ac:graphicFrameMk id="2" creationId="{73C58769-7A25-4430-9D84-126C76E46223}"/>
            </ac:graphicFrameMkLst>
          </pc:graphicFrameChg>
          <pc:cxnChg chg="add mod">
            <ac:chgData name="Joshua Kanter" userId="fe4e1fa3-be57-48cb-ad9c-b9653d9dc11a" providerId="ADAL" clId="{11AF054F-2CD1-4324-91AD-8690B59512BD}" dt="2025-01-04T00:33:24.251" v="389" actId="1076"/>
            <ac:cxnSpMkLst>
              <pc:docMk/>
              <pc:sldMasterMk cId="0" sldId="2147483657"/>
              <pc:sldLayoutMk cId="106328132" sldId="2147483659"/>
              <ac:cxnSpMk id="4" creationId="{75E52EA5-8D6F-8176-F24A-97C159E09B1E}"/>
            </ac:cxnSpMkLst>
          </pc:cxnChg>
          <pc:cxnChg chg="add mod">
            <ac:chgData name="Joshua Kanter" userId="fe4e1fa3-be57-48cb-ad9c-b9653d9dc11a" providerId="ADAL" clId="{11AF054F-2CD1-4324-91AD-8690B59512BD}" dt="2025-01-04T00:33:24.251" v="389" actId="1076"/>
            <ac:cxnSpMkLst>
              <pc:docMk/>
              <pc:sldMasterMk cId="0" sldId="2147483657"/>
              <pc:sldLayoutMk cId="106328132" sldId="2147483659"/>
              <ac:cxnSpMk id="5" creationId="{03610109-09F1-67F8-FCB6-DF9B4F349832}"/>
            </ac:cxnSpMkLst>
          </pc:cxnChg>
        </pc:sldLayoutChg>
        <pc:sldLayoutChg chg="addSp delSp modSp mod">
          <pc:chgData name="Joshua Kanter" userId="fe4e1fa3-be57-48cb-ad9c-b9653d9dc11a" providerId="ADAL" clId="{11AF054F-2CD1-4324-91AD-8690B59512BD}" dt="2025-01-04T00:34:02.429" v="396"/>
          <pc:sldLayoutMkLst>
            <pc:docMk/>
            <pc:sldMasterMk cId="0" sldId="2147483657"/>
            <pc:sldLayoutMk cId="3644891582" sldId="2147483660"/>
          </pc:sldLayoutMkLst>
          <pc:spChg chg="mod">
            <ac:chgData name="Joshua Kanter" userId="fe4e1fa3-be57-48cb-ad9c-b9653d9dc11a" providerId="ADAL" clId="{11AF054F-2CD1-4324-91AD-8690B59512BD}" dt="2025-01-04T00:21:42.168" v="4"/>
            <ac:spMkLst>
              <pc:docMk/>
              <pc:sldMasterMk cId="0" sldId="2147483657"/>
              <pc:sldLayoutMk cId="3644891582" sldId="2147483660"/>
              <ac:spMk id="5" creationId="{A702F0AA-24C7-918D-BA3F-0D1CBA6EF22A}"/>
            </ac:spMkLst>
          </pc:spChg>
          <pc:spChg chg="add mod">
            <ac:chgData name="Joshua Kanter" userId="fe4e1fa3-be57-48cb-ad9c-b9653d9dc11a" providerId="ADAL" clId="{11AF054F-2CD1-4324-91AD-8690B59512BD}" dt="2025-01-04T00:34:02.429" v="396"/>
            <ac:spMkLst>
              <pc:docMk/>
              <pc:sldMasterMk cId="0" sldId="2147483657"/>
              <pc:sldLayoutMk cId="3644891582" sldId="2147483660"/>
              <ac:spMk id="6" creationId="{979F132A-53B8-190F-1235-E240361DEE58}"/>
            </ac:spMkLst>
          </pc:spChg>
          <pc:spChg chg="del">
            <ac:chgData name="Joshua Kanter" userId="fe4e1fa3-be57-48cb-ad9c-b9653d9dc11a" providerId="ADAL" clId="{11AF054F-2CD1-4324-91AD-8690B59512BD}" dt="2025-01-04T00:34:02.040" v="395" actId="478"/>
            <ac:spMkLst>
              <pc:docMk/>
              <pc:sldMasterMk cId="0" sldId="2147483657"/>
              <pc:sldLayoutMk cId="3644891582" sldId="2147483660"/>
              <ac:spMk id="32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21.958" v="405"/>
          <pc:sldLayoutMkLst>
            <pc:docMk/>
            <pc:sldMasterMk cId="0" sldId="2147483657"/>
            <pc:sldLayoutMk cId="1280905984" sldId="2147483661"/>
          </pc:sldLayoutMkLst>
          <pc:spChg chg="mod">
            <ac:chgData name="Joshua Kanter" userId="fe4e1fa3-be57-48cb-ad9c-b9653d9dc11a" providerId="ADAL" clId="{11AF054F-2CD1-4324-91AD-8690B59512BD}" dt="2025-01-04T00:21:49.551" v="8"/>
            <ac:spMkLst>
              <pc:docMk/>
              <pc:sldMasterMk cId="0" sldId="2147483657"/>
              <pc:sldLayoutMk cId="1280905984" sldId="2147483661"/>
              <ac:spMk id="5" creationId="{3B9530A4-919A-29C9-0B04-4EAB975799F8}"/>
            </ac:spMkLst>
          </pc:spChg>
          <pc:spChg chg="add mod">
            <ac:chgData name="Joshua Kanter" userId="fe4e1fa3-be57-48cb-ad9c-b9653d9dc11a" providerId="ADAL" clId="{11AF054F-2CD1-4324-91AD-8690B59512BD}" dt="2025-01-04T00:34:21.958" v="405"/>
            <ac:spMkLst>
              <pc:docMk/>
              <pc:sldMasterMk cId="0" sldId="2147483657"/>
              <pc:sldLayoutMk cId="1280905984" sldId="2147483661"/>
              <ac:spMk id="6" creationId="{2405F8F4-5823-F56A-4B9B-3C0FEB5A6873}"/>
            </ac:spMkLst>
          </pc:spChg>
          <pc:spChg chg="del">
            <ac:chgData name="Joshua Kanter" userId="fe4e1fa3-be57-48cb-ad9c-b9653d9dc11a" providerId="ADAL" clId="{11AF054F-2CD1-4324-91AD-8690B59512BD}" dt="2025-01-04T00:34:21.628" v="404" actId="478"/>
            <ac:spMkLst>
              <pc:docMk/>
              <pc:sldMasterMk cId="0" sldId="2147483657"/>
              <pc:sldLayoutMk cId="1280905984" sldId="2147483661"/>
              <ac:spMk id="11" creationId="{B97C71B0-CE35-FB4E-AC38-1FB1DB0B26F3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23.620" v="407"/>
          <pc:sldLayoutMkLst>
            <pc:docMk/>
            <pc:sldMasterMk cId="0" sldId="2147483657"/>
            <pc:sldLayoutMk cId="4200920360" sldId="2147483662"/>
          </pc:sldLayoutMkLst>
          <pc:spChg chg="mod">
            <ac:chgData name="Joshua Kanter" userId="fe4e1fa3-be57-48cb-ad9c-b9653d9dc11a" providerId="ADAL" clId="{11AF054F-2CD1-4324-91AD-8690B59512BD}" dt="2025-01-04T00:21:54.490" v="10"/>
            <ac:spMkLst>
              <pc:docMk/>
              <pc:sldMasterMk cId="0" sldId="2147483657"/>
              <pc:sldLayoutMk cId="4200920360" sldId="2147483662"/>
              <ac:spMk id="4" creationId="{8EE039D8-C5AD-89C1-F728-194388EF113D}"/>
            </ac:spMkLst>
          </pc:spChg>
          <pc:spChg chg="del">
            <ac:chgData name="Joshua Kanter" userId="fe4e1fa3-be57-48cb-ad9c-b9653d9dc11a" providerId="ADAL" clId="{11AF054F-2CD1-4324-91AD-8690B59512BD}" dt="2025-01-04T00:34:23.255" v="406" actId="478"/>
            <ac:spMkLst>
              <pc:docMk/>
              <pc:sldMasterMk cId="0" sldId="2147483657"/>
              <pc:sldLayoutMk cId="4200920360" sldId="2147483662"/>
              <ac:spMk id="5" creationId="{4B9B4347-CB8D-4A7E-99C5-C3813F65B59D}"/>
            </ac:spMkLst>
          </pc:spChg>
          <pc:spChg chg="add mod">
            <ac:chgData name="Joshua Kanter" userId="fe4e1fa3-be57-48cb-ad9c-b9653d9dc11a" providerId="ADAL" clId="{11AF054F-2CD1-4324-91AD-8690B59512BD}" dt="2025-01-04T00:34:23.620" v="407"/>
            <ac:spMkLst>
              <pc:docMk/>
              <pc:sldMasterMk cId="0" sldId="2147483657"/>
              <pc:sldLayoutMk cId="4200920360" sldId="2147483662"/>
              <ac:spMk id="7" creationId="{A61A52E3-520F-19CB-D90E-FC709269B91B}"/>
            </ac:spMkLst>
          </pc:spChg>
        </pc:sldLayoutChg>
        <pc:sldLayoutChg chg="modSp mod">
          <pc:chgData name="Joshua Kanter" userId="fe4e1fa3-be57-48cb-ad9c-b9653d9dc11a" providerId="ADAL" clId="{11AF054F-2CD1-4324-91AD-8690B59512BD}" dt="2025-01-04T00:21:31.582" v="1" actId="20577"/>
          <pc:sldLayoutMkLst>
            <pc:docMk/>
            <pc:sldMasterMk cId="0" sldId="2147483657"/>
            <pc:sldLayoutMk cId="3439180078" sldId="2147483663"/>
          </pc:sldLayoutMkLst>
          <pc:spChg chg="mod">
            <ac:chgData name="Joshua Kanter" userId="fe4e1fa3-be57-48cb-ad9c-b9653d9dc11a" providerId="ADAL" clId="{11AF054F-2CD1-4324-91AD-8690B59512BD}" dt="2025-01-04T00:21:31.582" v="1" actId="20577"/>
            <ac:spMkLst>
              <pc:docMk/>
              <pc:sldMasterMk cId="0" sldId="2147483657"/>
              <pc:sldLayoutMk cId="3439180078" sldId="2147483663"/>
              <ac:spMk id="10" creationId="{00000000-0000-0000-0000-000000000000}"/>
            </ac:spMkLst>
          </pc:spChg>
        </pc:sldLayoutChg>
        <pc:sldLayoutChg chg="modSp mod">
          <pc:chgData name="Joshua Kanter" userId="fe4e1fa3-be57-48cb-ad9c-b9653d9dc11a" providerId="ADAL" clId="{11AF054F-2CD1-4324-91AD-8690B59512BD}" dt="2025-01-04T00:22:27.974" v="22"/>
          <pc:sldLayoutMkLst>
            <pc:docMk/>
            <pc:sldMasterMk cId="0" sldId="2147483657"/>
            <pc:sldLayoutMk cId="3330342473" sldId="2147483665"/>
          </pc:sldLayoutMkLst>
          <pc:spChg chg="mod">
            <ac:chgData name="Joshua Kanter" userId="fe4e1fa3-be57-48cb-ad9c-b9653d9dc11a" providerId="ADAL" clId="{11AF054F-2CD1-4324-91AD-8690B59512BD}" dt="2025-01-04T00:22:27.974" v="22"/>
            <ac:spMkLst>
              <pc:docMk/>
              <pc:sldMasterMk cId="0" sldId="2147483657"/>
              <pc:sldLayoutMk cId="3330342473" sldId="2147483665"/>
              <ac:spMk id="2" creationId="{31E382B2-2C5C-1200-6CD3-E91C4B518A8C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34.934" v="418" actId="207"/>
          <pc:sldLayoutMkLst>
            <pc:docMk/>
            <pc:sldMasterMk cId="0" sldId="2147483657"/>
            <pc:sldLayoutMk cId="759091458" sldId="2147483666"/>
          </pc:sldLayoutMkLst>
          <pc:spChg chg="mod">
            <ac:chgData name="Joshua Kanter" userId="fe4e1fa3-be57-48cb-ad9c-b9653d9dc11a" providerId="ADAL" clId="{11AF054F-2CD1-4324-91AD-8690B59512BD}" dt="2025-01-04T00:22:07.982" v="15"/>
            <ac:spMkLst>
              <pc:docMk/>
              <pc:sldMasterMk cId="0" sldId="2147483657"/>
              <pc:sldLayoutMk cId="759091458" sldId="2147483666"/>
              <ac:spMk id="3" creationId="{389E1D04-E28C-9BB3-64D7-7A8C075FEE77}"/>
            </ac:spMkLst>
          </pc:spChg>
          <pc:spChg chg="add mod">
            <ac:chgData name="Joshua Kanter" userId="fe4e1fa3-be57-48cb-ad9c-b9653d9dc11a" providerId="ADAL" clId="{11AF054F-2CD1-4324-91AD-8690B59512BD}" dt="2025-01-04T00:34:34.934" v="418" actId="207"/>
            <ac:spMkLst>
              <pc:docMk/>
              <pc:sldMasterMk cId="0" sldId="2147483657"/>
              <pc:sldLayoutMk cId="759091458" sldId="2147483666"/>
              <ac:spMk id="5" creationId="{27BF5520-21D7-010E-71C5-353FEBA5ED98}"/>
            </ac:spMkLst>
          </pc:spChg>
          <pc:spChg chg="del">
            <ac:chgData name="Joshua Kanter" userId="fe4e1fa3-be57-48cb-ad9c-b9653d9dc11a" providerId="ADAL" clId="{11AF054F-2CD1-4324-91AD-8690B59512BD}" dt="2025-01-04T00:34:31.546" v="416" actId="478"/>
            <ac:spMkLst>
              <pc:docMk/>
              <pc:sldMasterMk cId="0" sldId="2147483657"/>
              <pc:sldLayoutMk cId="759091458" sldId="2147483666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45.440" v="424" actId="207"/>
          <pc:sldLayoutMkLst>
            <pc:docMk/>
            <pc:sldMasterMk cId="0" sldId="2147483657"/>
            <pc:sldLayoutMk cId="2885420881" sldId="2147483667"/>
          </pc:sldLayoutMkLst>
          <pc:spChg chg="mod">
            <ac:chgData name="Joshua Kanter" userId="fe4e1fa3-be57-48cb-ad9c-b9653d9dc11a" providerId="ADAL" clId="{11AF054F-2CD1-4324-91AD-8690B59512BD}" dt="2025-01-04T00:22:10.210" v="16"/>
            <ac:spMkLst>
              <pc:docMk/>
              <pc:sldMasterMk cId="0" sldId="2147483657"/>
              <pc:sldLayoutMk cId="2885420881" sldId="2147483667"/>
              <ac:spMk id="4" creationId="{A0F418E9-C3D5-9E32-C8BF-999F99B646E7}"/>
            </ac:spMkLst>
          </pc:spChg>
          <pc:spChg chg="add mod">
            <ac:chgData name="Joshua Kanter" userId="fe4e1fa3-be57-48cb-ad9c-b9653d9dc11a" providerId="ADAL" clId="{11AF054F-2CD1-4324-91AD-8690B59512BD}" dt="2025-01-04T00:34:37.428" v="421" actId="20577"/>
            <ac:spMkLst>
              <pc:docMk/>
              <pc:sldMasterMk cId="0" sldId="2147483657"/>
              <pc:sldLayoutMk cId="2885420881" sldId="2147483667"/>
              <ac:spMk id="5" creationId="{93D48364-D1BF-06D5-A0BE-0A2A1FB7EE7D}"/>
            </ac:spMkLst>
          </pc:spChg>
          <pc:spChg chg="add mod">
            <ac:chgData name="Joshua Kanter" userId="fe4e1fa3-be57-48cb-ad9c-b9653d9dc11a" providerId="ADAL" clId="{11AF054F-2CD1-4324-91AD-8690B59512BD}" dt="2025-01-04T00:34:45.440" v="424" actId="207"/>
            <ac:spMkLst>
              <pc:docMk/>
              <pc:sldMasterMk cId="0" sldId="2147483657"/>
              <pc:sldLayoutMk cId="2885420881" sldId="2147483667"/>
              <ac:spMk id="6" creationId="{2F56FE11-AC29-78B9-1E63-C85FC11BD201}"/>
            </ac:spMkLst>
          </pc:spChg>
          <pc:spChg chg="del">
            <ac:chgData name="Joshua Kanter" userId="fe4e1fa3-be57-48cb-ad9c-b9653d9dc11a" providerId="ADAL" clId="{11AF054F-2CD1-4324-91AD-8690B59512BD}" dt="2025-01-04T00:34:42.116" v="422" actId="478"/>
            <ac:spMkLst>
              <pc:docMk/>
              <pc:sldMasterMk cId="0" sldId="2147483657"/>
              <pc:sldLayoutMk cId="2885420881" sldId="2147483667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55.154" v="430" actId="207"/>
          <pc:sldLayoutMkLst>
            <pc:docMk/>
            <pc:sldMasterMk cId="0" sldId="2147483657"/>
            <pc:sldLayoutMk cId="3936050315" sldId="2147483668"/>
          </pc:sldLayoutMkLst>
          <pc:spChg chg="mod">
            <ac:chgData name="Joshua Kanter" userId="fe4e1fa3-be57-48cb-ad9c-b9653d9dc11a" providerId="ADAL" clId="{11AF054F-2CD1-4324-91AD-8690B59512BD}" dt="2025-01-04T00:22:14.781" v="18"/>
            <ac:spMkLst>
              <pc:docMk/>
              <pc:sldMasterMk cId="0" sldId="2147483657"/>
              <pc:sldLayoutMk cId="3936050315" sldId="2147483668"/>
              <ac:spMk id="4" creationId="{5B726A6B-F9A2-07C5-17F9-51D65552FAD9}"/>
            </ac:spMkLst>
          </pc:spChg>
          <pc:spChg chg="add mod">
            <ac:chgData name="Joshua Kanter" userId="fe4e1fa3-be57-48cb-ad9c-b9653d9dc11a" providerId="ADAL" clId="{11AF054F-2CD1-4324-91AD-8690B59512BD}" dt="2025-01-04T00:34:55.154" v="430" actId="207"/>
            <ac:spMkLst>
              <pc:docMk/>
              <pc:sldMasterMk cId="0" sldId="2147483657"/>
              <pc:sldLayoutMk cId="3936050315" sldId="2147483668"/>
              <ac:spMk id="5" creationId="{E9B2D76E-5C48-1EA7-706B-DA07B43E4890}"/>
            </ac:spMkLst>
          </pc:spChg>
          <pc:spChg chg="del">
            <ac:chgData name="Joshua Kanter" userId="fe4e1fa3-be57-48cb-ad9c-b9653d9dc11a" providerId="ADAL" clId="{11AF054F-2CD1-4324-91AD-8690B59512BD}" dt="2025-01-04T00:34:53.337" v="428" actId="478"/>
            <ac:spMkLst>
              <pc:docMk/>
              <pc:sldMasterMk cId="0" sldId="2147483657"/>
              <pc:sldLayoutMk cId="3936050315" sldId="2147483668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49.983" v="427" actId="207"/>
          <pc:sldLayoutMkLst>
            <pc:docMk/>
            <pc:sldMasterMk cId="0" sldId="2147483657"/>
            <pc:sldLayoutMk cId="4128187889" sldId="2147483669"/>
          </pc:sldLayoutMkLst>
          <pc:spChg chg="mod">
            <ac:chgData name="Joshua Kanter" userId="fe4e1fa3-be57-48cb-ad9c-b9653d9dc11a" providerId="ADAL" clId="{11AF054F-2CD1-4324-91AD-8690B59512BD}" dt="2025-01-04T00:22:11.985" v="17"/>
            <ac:spMkLst>
              <pc:docMk/>
              <pc:sldMasterMk cId="0" sldId="2147483657"/>
              <pc:sldLayoutMk cId="4128187889" sldId="2147483669"/>
              <ac:spMk id="4" creationId="{536FA677-C60F-C25B-49FA-3A480E52520C}"/>
            </ac:spMkLst>
          </pc:spChg>
          <pc:spChg chg="add mod">
            <ac:chgData name="Joshua Kanter" userId="fe4e1fa3-be57-48cb-ad9c-b9653d9dc11a" providerId="ADAL" clId="{11AF054F-2CD1-4324-91AD-8690B59512BD}" dt="2025-01-04T00:34:49.983" v="427" actId="207"/>
            <ac:spMkLst>
              <pc:docMk/>
              <pc:sldMasterMk cId="0" sldId="2147483657"/>
              <pc:sldLayoutMk cId="4128187889" sldId="2147483669"/>
              <ac:spMk id="5" creationId="{1F7F4DB0-CDEC-6C35-111C-8CF82743E9A3}"/>
            </ac:spMkLst>
          </pc:spChg>
          <pc:spChg chg="del">
            <ac:chgData name="Joshua Kanter" userId="fe4e1fa3-be57-48cb-ad9c-b9653d9dc11a" providerId="ADAL" clId="{11AF054F-2CD1-4324-91AD-8690B59512BD}" dt="2025-01-04T00:34:48.020" v="425" actId="478"/>
            <ac:spMkLst>
              <pc:docMk/>
              <pc:sldMasterMk cId="0" sldId="2147483657"/>
              <pc:sldLayoutMk cId="4128187889" sldId="2147483669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59.607" v="433" actId="207"/>
          <pc:sldLayoutMkLst>
            <pc:docMk/>
            <pc:sldMasterMk cId="0" sldId="2147483657"/>
            <pc:sldLayoutMk cId="3608840913" sldId="2147483670"/>
          </pc:sldLayoutMkLst>
          <pc:spChg chg="mod">
            <ac:chgData name="Joshua Kanter" userId="fe4e1fa3-be57-48cb-ad9c-b9653d9dc11a" providerId="ADAL" clId="{11AF054F-2CD1-4324-91AD-8690B59512BD}" dt="2025-01-04T00:22:20.356" v="19"/>
            <ac:spMkLst>
              <pc:docMk/>
              <pc:sldMasterMk cId="0" sldId="2147483657"/>
              <pc:sldLayoutMk cId="3608840913" sldId="2147483670"/>
              <ac:spMk id="4" creationId="{3EE1886B-9A12-3A78-3E94-3B7423931438}"/>
            </ac:spMkLst>
          </pc:spChg>
          <pc:spChg chg="add mod">
            <ac:chgData name="Joshua Kanter" userId="fe4e1fa3-be57-48cb-ad9c-b9653d9dc11a" providerId="ADAL" clId="{11AF054F-2CD1-4324-91AD-8690B59512BD}" dt="2025-01-04T00:34:59.607" v="433" actId="207"/>
            <ac:spMkLst>
              <pc:docMk/>
              <pc:sldMasterMk cId="0" sldId="2147483657"/>
              <pc:sldLayoutMk cId="3608840913" sldId="2147483670"/>
              <ac:spMk id="5" creationId="{D9AEDCAE-6935-E6A9-CF23-18E9BD6FB20A}"/>
            </ac:spMkLst>
          </pc:spChg>
          <pc:spChg chg="del">
            <ac:chgData name="Joshua Kanter" userId="fe4e1fa3-be57-48cb-ad9c-b9653d9dc11a" providerId="ADAL" clId="{11AF054F-2CD1-4324-91AD-8690B59512BD}" dt="2025-01-04T00:34:57.940" v="431" actId="478"/>
            <ac:spMkLst>
              <pc:docMk/>
              <pc:sldMasterMk cId="0" sldId="2147483657"/>
              <pc:sldLayoutMk cId="3608840913" sldId="2147483670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5:04.347" v="436" actId="207"/>
          <pc:sldLayoutMkLst>
            <pc:docMk/>
            <pc:sldMasterMk cId="0" sldId="2147483657"/>
            <pc:sldLayoutMk cId="4197440446" sldId="2147483671"/>
          </pc:sldLayoutMkLst>
          <pc:spChg chg="mod">
            <ac:chgData name="Joshua Kanter" userId="fe4e1fa3-be57-48cb-ad9c-b9653d9dc11a" providerId="ADAL" clId="{11AF054F-2CD1-4324-91AD-8690B59512BD}" dt="2025-01-04T00:22:23.359" v="20"/>
            <ac:spMkLst>
              <pc:docMk/>
              <pc:sldMasterMk cId="0" sldId="2147483657"/>
              <pc:sldLayoutMk cId="4197440446" sldId="2147483671"/>
              <ac:spMk id="4" creationId="{9B8F005A-A9CD-D0A5-D4CB-C0E33E44002F}"/>
            </ac:spMkLst>
          </pc:spChg>
          <pc:spChg chg="add mod">
            <ac:chgData name="Joshua Kanter" userId="fe4e1fa3-be57-48cb-ad9c-b9653d9dc11a" providerId="ADAL" clId="{11AF054F-2CD1-4324-91AD-8690B59512BD}" dt="2025-01-04T00:35:04.347" v="436" actId="207"/>
            <ac:spMkLst>
              <pc:docMk/>
              <pc:sldMasterMk cId="0" sldId="2147483657"/>
              <pc:sldLayoutMk cId="4197440446" sldId="2147483671"/>
              <ac:spMk id="5" creationId="{4688E7D1-8031-CB34-0E5B-F01BDB0AFA66}"/>
            </ac:spMkLst>
          </pc:spChg>
          <pc:spChg chg="del">
            <ac:chgData name="Joshua Kanter" userId="fe4e1fa3-be57-48cb-ad9c-b9653d9dc11a" providerId="ADAL" clId="{11AF054F-2CD1-4324-91AD-8690B59512BD}" dt="2025-01-04T00:35:02.741" v="434" actId="478"/>
            <ac:spMkLst>
              <pc:docMk/>
              <pc:sldMasterMk cId="0" sldId="2147483657"/>
              <pc:sldLayoutMk cId="4197440446" sldId="2147483671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5:09.551" v="439" actId="207"/>
          <pc:sldLayoutMkLst>
            <pc:docMk/>
            <pc:sldMasterMk cId="0" sldId="2147483657"/>
            <pc:sldLayoutMk cId="542450575" sldId="2147483672"/>
          </pc:sldLayoutMkLst>
          <pc:spChg chg="mod">
            <ac:chgData name="Joshua Kanter" userId="fe4e1fa3-be57-48cb-ad9c-b9653d9dc11a" providerId="ADAL" clId="{11AF054F-2CD1-4324-91AD-8690B59512BD}" dt="2025-01-04T00:22:25.717" v="21"/>
            <ac:spMkLst>
              <pc:docMk/>
              <pc:sldMasterMk cId="0" sldId="2147483657"/>
              <pc:sldLayoutMk cId="542450575" sldId="2147483672"/>
              <ac:spMk id="4" creationId="{CAAD7DE3-956C-98F8-B0BB-FF2FE66D9A4B}"/>
            </ac:spMkLst>
          </pc:spChg>
          <pc:spChg chg="add mod">
            <ac:chgData name="Joshua Kanter" userId="fe4e1fa3-be57-48cb-ad9c-b9653d9dc11a" providerId="ADAL" clId="{11AF054F-2CD1-4324-91AD-8690B59512BD}" dt="2025-01-04T00:35:09.551" v="439" actId="207"/>
            <ac:spMkLst>
              <pc:docMk/>
              <pc:sldMasterMk cId="0" sldId="2147483657"/>
              <pc:sldLayoutMk cId="542450575" sldId="2147483672"/>
              <ac:spMk id="5" creationId="{B1DA27BB-5EBA-71A9-943E-D89271EB797A}"/>
            </ac:spMkLst>
          </pc:spChg>
          <pc:spChg chg="del">
            <ac:chgData name="Joshua Kanter" userId="fe4e1fa3-be57-48cb-ad9c-b9653d9dc11a" providerId="ADAL" clId="{11AF054F-2CD1-4324-91AD-8690B59512BD}" dt="2025-01-04T00:35:07.763" v="437" actId="478"/>
            <ac:spMkLst>
              <pc:docMk/>
              <pc:sldMasterMk cId="0" sldId="2147483657"/>
              <pc:sldLayoutMk cId="542450575" sldId="2147483672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14.278" v="401" actId="207"/>
          <pc:sldLayoutMkLst>
            <pc:docMk/>
            <pc:sldMasterMk cId="0" sldId="2147483657"/>
            <pc:sldLayoutMk cId="3331956491" sldId="2147483673"/>
          </pc:sldLayoutMkLst>
          <pc:spChg chg="mod">
            <ac:chgData name="Joshua Kanter" userId="fe4e1fa3-be57-48cb-ad9c-b9653d9dc11a" providerId="ADAL" clId="{11AF054F-2CD1-4324-91AD-8690B59512BD}" dt="2025-01-04T00:21:45.816" v="6"/>
            <ac:spMkLst>
              <pc:docMk/>
              <pc:sldMasterMk cId="0" sldId="2147483657"/>
              <pc:sldLayoutMk cId="3331956491" sldId="2147483673"/>
              <ac:spMk id="3" creationId="{C181CE91-E840-F9BC-24C5-CAE005553237}"/>
            </ac:spMkLst>
          </pc:spChg>
          <pc:spChg chg="add mod">
            <ac:chgData name="Joshua Kanter" userId="fe4e1fa3-be57-48cb-ad9c-b9653d9dc11a" providerId="ADAL" clId="{11AF054F-2CD1-4324-91AD-8690B59512BD}" dt="2025-01-04T00:34:14.278" v="401" actId="207"/>
            <ac:spMkLst>
              <pc:docMk/>
              <pc:sldMasterMk cId="0" sldId="2147483657"/>
              <pc:sldLayoutMk cId="3331956491" sldId="2147483673"/>
              <ac:spMk id="4" creationId="{C369715D-7826-2D89-AE91-105451DF403B}"/>
            </ac:spMkLst>
          </pc:spChg>
          <pc:spChg chg="del">
            <ac:chgData name="Joshua Kanter" userId="fe4e1fa3-be57-48cb-ad9c-b9653d9dc11a" providerId="ADAL" clId="{11AF054F-2CD1-4324-91AD-8690B59512BD}" dt="2025-01-04T00:34:09.262" v="399" actId="478"/>
            <ac:spMkLst>
              <pc:docMk/>
              <pc:sldMasterMk cId="0" sldId="2147483657"/>
              <pc:sldLayoutMk cId="3331956491" sldId="2147483673"/>
              <ac:spMk id="1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20.200" v="403"/>
          <pc:sldLayoutMkLst>
            <pc:docMk/>
            <pc:sldMasterMk cId="0" sldId="2147483657"/>
            <pc:sldLayoutMk cId="4200270140" sldId="2147483674"/>
          </pc:sldLayoutMkLst>
          <pc:spChg chg="mod">
            <ac:chgData name="Joshua Kanter" userId="fe4e1fa3-be57-48cb-ad9c-b9653d9dc11a" providerId="ADAL" clId="{11AF054F-2CD1-4324-91AD-8690B59512BD}" dt="2025-01-04T00:21:47.617" v="7"/>
            <ac:spMkLst>
              <pc:docMk/>
              <pc:sldMasterMk cId="0" sldId="2147483657"/>
              <pc:sldLayoutMk cId="4200270140" sldId="2147483674"/>
              <ac:spMk id="3" creationId="{30B9A210-EC9A-03E6-8D20-FF26D6503425}"/>
            </ac:spMkLst>
          </pc:spChg>
          <pc:spChg chg="add mod">
            <ac:chgData name="Joshua Kanter" userId="fe4e1fa3-be57-48cb-ad9c-b9653d9dc11a" providerId="ADAL" clId="{11AF054F-2CD1-4324-91AD-8690B59512BD}" dt="2025-01-04T00:34:20.200" v="403"/>
            <ac:spMkLst>
              <pc:docMk/>
              <pc:sldMasterMk cId="0" sldId="2147483657"/>
              <pc:sldLayoutMk cId="4200270140" sldId="2147483674"/>
              <ac:spMk id="4" creationId="{6ACA7229-B67F-D190-F55A-18F8D80CF258}"/>
            </ac:spMkLst>
          </pc:spChg>
          <pc:spChg chg="del">
            <ac:chgData name="Joshua Kanter" userId="fe4e1fa3-be57-48cb-ad9c-b9653d9dc11a" providerId="ADAL" clId="{11AF054F-2CD1-4324-91AD-8690B59512BD}" dt="2025-01-04T00:34:19.865" v="402" actId="478"/>
            <ac:spMkLst>
              <pc:docMk/>
              <pc:sldMasterMk cId="0" sldId="2147483657"/>
              <pc:sldLayoutMk cId="4200270140" sldId="2147483674"/>
              <ac:spMk id="8" creationId="{F5271469-BF3B-48A2-A30A-EC87B8369B6D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04.196" v="398"/>
          <pc:sldLayoutMkLst>
            <pc:docMk/>
            <pc:sldMasterMk cId="0" sldId="2147483657"/>
            <pc:sldLayoutMk cId="2306370617" sldId="2147483675"/>
          </pc:sldLayoutMkLst>
          <pc:spChg chg="add mod">
            <ac:chgData name="Joshua Kanter" userId="fe4e1fa3-be57-48cb-ad9c-b9653d9dc11a" providerId="ADAL" clId="{11AF054F-2CD1-4324-91AD-8690B59512BD}" dt="2025-01-04T00:34:04.196" v="398"/>
            <ac:spMkLst>
              <pc:docMk/>
              <pc:sldMasterMk cId="0" sldId="2147483657"/>
              <pc:sldLayoutMk cId="2306370617" sldId="2147483675"/>
              <ac:spMk id="3" creationId="{66071645-E650-F8E6-BAB8-2EB9F58FC299}"/>
            </ac:spMkLst>
          </pc:spChg>
          <pc:spChg chg="mod">
            <ac:chgData name="Joshua Kanter" userId="fe4e1fa3-be57-48cb-ad9c-b9653d9dc11a" providerId="ADAL" clId="{11AF054F-2CD1-4324-91AD-8690B59512BD}" dt="2025-01-04T00:21:43.984" v="5"/>
            <ac:spMkLst>
              <pc:docMk/>
              <pc:sldMasterMk cId="0" sldId="2147483657"/>
              <pc:sldLayoutMk cId="2306370617" sldId="2147483675"/>
              <ac:spMk id="5" creationId="{F6C5C37C-3F19-C9B0-25C3-56EA1D66B10E}"/>
            </ac:spMkLst>
          </pc:spChg>
          <pc:spChg chg="del">
            <ac:chgData name="Joshua Kanter" userId="fe4e1fa3-be57-48cb-ad9c-b9653d9dc11a" providerId="ADAL" clId="{11AF054F-2CD1-4324-91AD-8690B59512BD}" dt="2025-01-04T00:34:03.793" v="397" actId="478"/>
            <ac:spMkLst>
              <pc:docMk/>
              <pc:sldMasterMk cId="0" sldId="2147483657"/>
              <pc:sldLayoutMk cId="2306370617" sldId="2147483675"/>
              <ac:spMk id="24" creationId="{00000000-0000-0000-0000-00000000000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25.137" v="409"/>
          <pc:sldLayoutMkLst>
            <pc:docMk/>
            <pc:sldMasterMk cId="0" sldId="2147483657"/>
            <pc:sldLayoutMk cId="3248253873" sldId="2147483676"/>
          </pc:sldLayoutMkLst>
          <pc:spChg chg="mod">
            <ac:chgData name="Joshua Kanter" userId="fe4e1fa3-be57-48cb-ad9c-b9653d9dc11a" providerId="ADAL" clId="{11AF054F-2CD1-4324-91AD-8690B59512BD}" dt="2025-01-04T00:21:58.191" v="11"/>
            <ac:spMkLst>
              <pc:docMk/>
              <pc:sldMasterMk cId="0" sldId="2147483657"/>
              <pc:sldLayoutMk cId="3248253873" sldId="2147483676"/>
              <ac:spMk id="3" creationId="{6E7994B4-AE64-881D-EABB-F8B2CCB6CE60}"/>
            </ac:spMkLst>
          </pc:spChg>
          <pc:spChg chg="add mod">
            <ac:chgData name="Joshua Kanter" userId="fe4e1fa3-be57-48cb-ad9c-b9653d9dc11a" providerId="ADAL" clId="{11AF054F-2CD1-4324-91AD-8690B59512BD}" dt="2025-01-04T00:34:25.137" v="409"/>
            <ac:spMkLst>
              <pc:docMk/>
              <pc:sldMasterMk cId="0" sldId="2147483657"/>
              <pc:sldLayoutMk cId="3248253873" sldId="2147483676"/>
              <ac:spMk id="4" creationId="{8C5676B5-2F65-7E37-B2AB-A5A2DADC9A6F}"/>
            </ac:spMkLst>
          </pc:spChg>
          <pc:spChg chg="del">
            <ac:chgData name="Joshua Kanter" userId="fe4e1fa3-be57-48cb-ad9c-b9653d9dc11a" providerId="ADAL" clId="{11AF054F-2CD1-4324-91AD-8690B59512BD}" dt="2025-01-04T00:34:24.826" v="408" actId="478"/>
            <ac:spMkLst>
              <pc:docMk/>
              <pc:sldMasterMk cId="0" sldId="2147483657"/>
              <pc:sldLayoutMk cId="3248253873" sldId="2147483676"/>
              <ac:spMk id="11" creationId="{B97C71B0-CE35-FB4E-AC38-1FB1DB0B26F3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26.877" v="411"/>
          <pc:sldLayoutMkLst>
            <pc:docMk/>
            <pc:sldMasterMk cId="0" sldId="2147483657"/>
            <pc:sldLayoutMk cId="3953503553" sldId="2147483677"/>
          </pc:sldLayoutMkLst>
          <pc:spChg chg="mod">
            <ac:chgData name="Joshua Kanter" userId="fe4e1fa3-be57-48cb-ad9c-b9653d9dc11a" providerId="ADAL" clId="{11AF054F-2CD1-4324-91AD-8690B59512BD}" dt="2025-01-04T00:22:00.407" v="12"/>
            <ac:spMkLst>
              <pc:docMk/>
              <pc:sldMasterMk cId="0" sldId="2147483657"/>
              <pc:sldLayoutMk cId="3953503553" sldId="2147483677"/>
              <ac:spMk id="3" creationId="{82CBF7F4-FBC8-0BDC-FB19-1509C3AC5FDC}"/>
            </ac:spMkLst>
          </pc:spChg>
          <pc:spChg chg="add mod">
            <ac:chgData name="Joshua Kanter" userId="fe4e1fa3-be57-48cb-ad9c-b9653d9dc11a" providerId="ADAL" clId="{11AF054F-2CD1-4324-91AD-8690B59512BD}" dt="2025-01-04T00:34:26.877" v="411"/>
            <ac:spMkLst>
              <pc:docMk/>
              <pc:sldMasterMk cId="0" sldId="2147483657"/>
              <pc:sldLayoutMk cId="3953503553" sldId="2147483677"/>
              <ac:spMk id="4" creationId="{2E5BCAC7-AFAA-E5B9-468E-A7B2C154AF60}"/>
            </ac:spMkLst>
          </pc:spChg>
          <pc:spChg chg="del">
            <ac:chgData name="Joshua Kanter" userId="fe4e1fa3-be57-48cb-ad9c-b9653d9dc11a" providerId="ADAL" clId="{11AF054F-2CD1-4324-91AD-8690B59512BD}" dt="2025-01-04T00:34:26.531" v="410" actId="478"/>
            <ac:spMkLst>
              <pc:docMk/>
              <pc:sldMasterMk cId="0" sldId="2147483657"/>
              <pc:sldLayoutMk cId="3953503553" sldId="2147483677"/>
              <ac:spMk id="11" creationId="{B97C71B0-CE35-FB4E-AC38-1FB1DB0B26F3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28.713" v="413"/>
          <pc:sldLayoutMkLst>
            <pc:docMk/>
            <pc:sldMasterMk cId="0" sldId="2147483657"/>
            <pc:sldLayoutMk cId="3320908288" sldId="2147483678"/>
          </pc:sldLayoutMkLst>
          <pc:spChg chg="mod">
            <ac:chgData name="Joshua Kanter" userId="fe4e1fa3-be57-48cb-ad9c-b9653d9dc11a" providerId="ADAL" clId="{11AF054F-2CD1-4324-91AD-8690B59512BD}" dt="2025-01-04T00:22:02.554" v="13"/>
            <ac:spMkLst>
              <pc:docMk/>
              <pc:sldMasterMk cId="0" sldId="2147483657"/>
              <pc:sldLayoutMk cId="3320908288" sldId="2147483678"/>
              <ac:spMk id="4" creationId="{3229A4F0-3F6B-E088-4C30-C95AB1437F00}"/>
            </ac:spMkLst>
          </pc:spChg>
          <pc:spChg chg="del">
            <ac:chgData name="Joshua Kanter" userId="fe4e1fa3-be57-48cb-ad9c-b9653d9dc11a" providerId="ADAL" clId="{11AF054F-2CD1-4324-91AD-8690B59512BD}" dt="2025-01-04T00:34:28.385" v="412" actId="478"/>
            <ac:spMkLst>
              <pc:docMk/>
              <pc:sldMasterMk cId="0" sldId="2147483657"/>
              <pc:sldLayoutMk cId="3320908288" sldId="2147483678"/>
              <ac:spMk id="5" creationId="{4B9B4347-CB8D-4A7E-99C5-C3813F65B59D}"/>
            </ac:spMkLst>
          </pc:spChg>
          <pc:spChg chg="add mod">
            <ac:chgData name="Joshua Kanter" userId="fe4e1fa3-be57-48cb-ad9c-b9653d9dc11a" providerId="ADAL" clId="{11AF054F-2CD1-4324-91AD-8690B59512BD}" dt="2025-01-04T00:34:28.713" v="413"/>
            <ac:spMkLst>
              <pc:docMk/>
              <pc:sldMasterMk cId="0" sldId="2147483657"/>
              <pc:sldLayoutMk cId="3320908288" sldId="2147483678"/>
              <ac:spMk id="7" creationId="{E7F75087-AC6A-DCFC-5D24-8E90658E7AB7}"/>
            </ac:spMkLst>
          </pc:spChg>
        </pc:sldLayoutChg>
        <pc:sldLayoutChg chg="modSp mod">
          <pc:chgData name="Joshua Kanter" userId="fe4e1fa3-be57-48cb-ad9c-b9653d9dc11a" providerId="ADAL" clId="{11AF054F-2CD1-4324-91AD-8690B59512BD}" dt="2025-01-04T00:21:52.596" v="9"/>
          <pc:sldLayoutMkLst>
            <pc:docMk/>
            <pc:sldMasterMk cId="0" sldId="2147483657"/>
            <pc:sldLayoutMk cId="1684591019" sldId="2147483679"/>
          </pc:sldLayoutMkLst>
          <pc:spChg chg="mod">
            <ac:chgData name="Joshua Kanter" userId="fe4e1fa3-be57-48cb-ad9c-b9653d9dc11a" providerId="ADAL" clId="{11AF054F-2CD1-4324-91AD-8690B59512BD}" dt="2025-01-04T00:21:52.596" v="9"/>
            <ac:spMkLst>
              <pc:docMk/>
              <pc:sldMasterMk cId="0" sldId="2147483657"/>
              <pc:sldLayoutMk cId="1684591019" sldId="2147483679"/>
              <ac:spMk id="4" creationId="{BF4821EA-FC2D-50F2-CCDA-B6F8B6426620}"/>
            </ac:spMkLst>
          </pc:spChg>
        </pc:sldLayoutChg>
        <pc:sldLayoutChg chg="addSp delSp modSp mod">
          <pc:chgData name="Joshua Kanter" userId="fe4e1fa3-be57-48cb-ad9c-b9653d9dc11a" providerId="ADAL" clId="{11AF054F-2CD1-4324-91AD-8690B59512BD}" dt="2025-01-04T00:34:30.328" v="415"/>
          <pc:sldLayoutMkLst>
            <pc:docMk/>
            <pc:sldMasterMk cId="0" sldId="2147483657"/>
            <pc:sldLayoutMk cId="40676572" sldId="2147483681"/>
          </pc:sldLayoutMkLst>
          <pc:spChg chg="add mod">
            <ac:chgData name="Joshua Kanter" userId="fe4e1fa3-be57-48cb-ad9c-b9653d9dc11a" providerId="ADAL" clId="{11AF054F-2CD1-4324-91AD-8690B59512BD}" dt="2025-01-04T00:34:30.328" v="415"/>
            <ac:spMkLst>
              <pc:docMk/>
              <pc:sldMasterMk cId="0" sldId="2147483657"/>
              <pc:sldLayoutMk cId="40676572" sldId="2147483681"/>
              <ac:spMk id="3" creationId="{D907E528-E3E5-1B87-67BD-76C6F8551446}"/>
            </ac:spMkLst>
          </pc:spChg>
          <pc:spChg chg="mod">
            <ac:chgData name="Joshua Kanter" userId="fe4e1fa3-be57-48cb-ad9c-b9653d9dc11a" providerId="ADAL" clId="{11AF054F-2CD1-4324-91AD-8690B59512BD}" dt="2025-01-04T00:22:05.338" v="14"/>
            <ac:spMkLst>
              <pc:docMk/>
              <pc:sldMasterMk cId="0" sldId="2147483657"/>
              <pc:sldLayoutMk cId="40676572" sldId="2147483681"/>
              <ac:spMk id="7" creationId="{CC71005C-8204-AD48-C485-F60EE3221D6E}"/>
            </ac:spMkLst>
          </pc:spChg>
          <pc:spChg chg="del">
            <ac:chgData name="Joshua Kanter" userId="fe4e1fa3-be57-48cb-ad9c-b9653d9dc11a" providerId="ADAL" clId="{11AF054F-2CD1-4324-91AD-8690B59512BD}" dt="2025-01-04T00:34:30.029" v="414" actId="478"/>
            <ac:spMkLst>
              <pc:docMk/>
              <pc:sldMasterMk cId="0" sldId="2147483657"/>
              <pc:sldLayoutMk cId="40676572" sldId="2147483681"/>
              <ac:spMk id="24" creationId="{00000000-0000-0000-0000-000000000000}"/>
            </ac:spMkLst>
          </pc:spChg>
        </pc:sldLayoutChg>
        <pc:sldLayoutChg chg="modSp add mod ord modTransition">
          <pc:chgData name="Joshua Kanter" userId="fe4e1fa3-be57-48cb-ad9c-b9653d9dc11a" providerId="ADAL" clId="{11AF054F-2CD1-4324-91AD-8690B59512BD}" dt="2025-01-04T00:33:55.856" v="392" actId="14100"/>
          <pc:sldLayoutMkLst>
            <pc:docMk/>
            <pc:sldMasterMk cId="0" sldId="2147483657"/>
            <pc:sldLayoutMk cId="2970642734" sldId="2147483682"/>
          </pc:sldLayoutMkLst>
          <pc:spChg chg="mod">
            <ac:chgData name="Joshua Kanter" userId="fe4e1fa3-be57-48cb-ad9c-b9653d9dc11a" providerId="ADAL" clId="{11AF054F-2CD1-4324-91AD-8690B59512BD}" dt="2025-01-04T00:33:55.856" v="392" actId="14100"/>
            <ac:spMkLst>
              <pc:docMk/>
              <pc:sldMasterMk cId="0" sldId="2147483657"/>
              <pc:sldLayoutMk cId="2970642734" sldId="2147483682"/>
              <ac:spMk id="24" creationId="{00000000-0000-0000-0000-000000000000}"/>
            </ac:spMkLst>
          </pc:spChg>
          <pc:spChg chg="mod">
            <ac:chgData name="Joshua Kanter" userId="fe4e1fa3-be57-48cb-ad9c-b9653d9dc11a" providerId="ADAL" clId="{11AF054F-2CD1-4324-91AD-8690B59512BD}" dt="2025-01-04T00:31:25.543" v="368" actId="20577"/>
            <ac:spMkLst>
              <pc:docMk/>
              <pc:sldMasterMk cId="0" sldId="2147483657"/>
              <pc:sldLayoutMk cId="2970642734" sldId="2147483682"/>
              <ac:spMk id="26" creationId="{00000000-0000-0000-0000-000000000000}"/>
            </ac:spMkLst>
          </pc:spChg>
          <pc:graphicFrameChg chg="mod">
            <ac:chgData name="Joshua Kanter" userId="fe4e1fa3-be57-48cb-ad9c-b9653d9dc11a" providerId="ADAL" clId="{11AF054F-2CD1-4324-91AD-8690B59512BD}" dt="2025-01-04T00:31:25.549" v="370"/>
            <ac:graphicFrameMkLst>
              <pc:docMk/>
              <pc:sldMasterMk cId="0" sldId="2147483657"/>
              <pc:sldLayoutMk cId="2970642734" sldId="2147483682"/>
              <ac:graphicFrameMk id="2" creationId="{73C58769-7A25-4430-9D84-126C76E46223}"/>
            </ac:graphicFrameMkLst>
          </pc:graphicFrameChg>
        </pc:sldLayoutChg>
        <pc:sldLayoutChg chg="addSp delSp modSp mod">
          <pc:chgData name="Joshua Kanter" userId="fe4e1fa3-be57-48cb-ad9c-b9653d9dc11a" providerId="ADAL" clId="{11AF054F-2CD1-4324-91AD-8690B59512BD}" dt="2025-01-04T00:38:30.200" v="551"/>
          <pc:sldLayoutMkLst>
            <pc:docMk/>
            <pc:sldMasterMk cId="0" sldId="2147483657"/>
            <pc:sldLayoutMk cId="2596210043" sldId="2147483683"/>
          </pc:sldLayoutMkLst>
          <pc:spChg chg="add mod">
            <ac:chgData name="Joshua Kanter" userId="fe4e1fa3-be57-48cb-ad9c-b9653d9dc11a" providerId="ADAL" clId="{11AF054F-2CD1-4324-91AD-8690B59512BD}" dt="2025-01-04T00:36:47.203" v="443"/>
            <ac:spMkLst>
              <pc:docMk/>
              <pc:sldMasterMk cId="0" sldId="2147483657"/>
              <pc:sldLayoutMk cId="2596210043" sldId="2147483683"/>
              <ac:spMk id="5" creationId="{62616F3A-D2F2-F047-92F0-F82BEEA0C689}"/>
            </ac:spMkLst>
          </pc:spChg>
          <pc:spChg chg="del">
            <ac:chgData name="Joshua Kanter" userId="fe4e1fa3-be57-48cb-ad9c-b9653d9dc11a" providerId="ADAL" clId="{11AF054F-2CD1-4324-91AD-8690B59512BD}" dt="2025-01-04T00:36:46.934" v="442" actId="478"/>
            <ac:spMkLst>
              <pc:docMk/>
              <pc:sldMasterMk cId="0" sldId="2147483657"/>
              <pc:sldLayoutMk cId="2596210043" sldId="2147483683"/>
              <ac:spMk id="24" creationId="{00000000-0000-0000-0000-000000000000}"/>
            </ac:spMkLst>
          </pc:spChg>
          <pc:spChg chg="mod">
            <ac:chgData name="Joshua Kanter" userId="fe4e1fa3-be57-48cb-ad9c-b9653d9dc11a" providerId="ADAL" clId="{11AF054F-2CD1-4324-91AD-8690B59512BD}" dt="2025-01-04T00:36:41.731" v="441" actId="20577"/>
            <ac:spMkLst>
              <pc:docMk/>
              <pc:sldMasterMk cId="0" sldId="2147483657"/>
              <pc:sldLayoutMk cId="2596210043" sldId="2147483683"/>
              <ac:spMk id="25" creationId="{00000000-0000-0000-0000-000000000000}"/>
            </ac:spMkLst>
          </pc:spChg>
          <pc:spChg chg="mod">
            <ac:chgData name="Joshua Kanter" userId="fe4e1fa3-be57-48cb-ad9c-b9653d9dc11a" providerId="ADAL" clId="{11AF054F-2CD1-4324-91AD-8690B59512BD}" dt="2025-01-04T00:38:29.624" v="549" actId="20577"/>
            <ac:spMkLst>
              <pc:docMk/>
              <pc:sldMasterMk cId="0" sldId="2147483657"/>
              <pc:sldLayoutMk cId="2596210043" sldId="2147483683"/>
              <ac:spMk id="26" creationId="{00000000-0000-0000-0000-000000000000}"/>
            </ac:spMkLst>
          </pc:spChg>
          <pc:graphicFrameChg chg="mod">
            <ac:chgData name="Joshua Kanter" userId="fe4e1fa3-be57-48cb-ad9c-b9653d9dc11a" providerId="ADAL" clId="{11AF054F-2CD1-4324-91AD-8690B59512BD}" dt="2025-01-04T00:38:30.200" v="551"/>
            <ac:graphicFrameMkLst>
              <pc:docMk/>
              <pc:sldMasterMk cId="0" sldId="2147483657"/>
              <pc:sldLayoutMk cId="2596210043" sldId="2147483683"/>
              <ac:graphicFrameMk id="2" creationId="{73C58769-7A25-4430-9D84-126C76E46223}"/>
            </ac:graphicFrameMkLst>
          </pc:graphicFrame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C923622-40DB-AE0B-C389-B417A324A6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9674A-3241-E5DD-960C-19F10392181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A1E2DE-B349-47A3-920B-44F944D2FBF5}" type="datetimeFigureOut">
              <a:rPr lang="en-US" smtClean="0"/>
              <a:t>1/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0AD1B1-2421-83C2-24E9-1D1488821C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C5210E-9308-8192-CE74-F74906416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4EAAD1-06BE-43B8-9B88-5A648DC0A1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941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123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9292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66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5641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>
            <a:extLst>
              <a:ext uri="{FF2B5EF4-FFF2-40B4-BE49-F238E27FC236}">
                <a16:creationId xmlns:a16="http://schemas.microsoft.com/office/drawing/2014/main" id="{B5E3FD1A-CEF2-D9F0-DE4E-7ED6EF44FB0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6ADAEA0D-E4BD-4552-9A13-BF6AE63AC190}" type="slidenum">
              <a:rPr lang="en-US" altLang="en-US" sz="1200"/>
              <a:pPr>
                <a:buClrTx/>
              </a:pPr>
              <a:t>16</a:t>
            </a:fld>
            <a:endParaRPr lang="en-US" altLang="en-US" sz="1200"/>
          </a:p>
        </p:txBody>
      </p:sp>
      <p:sp>
        <p:nvSpPr>
          <p:cNvPr id="16387" name="doc id">
            <a:extLst>
              <a:ext uri="{FF2B5EF4-FFF2-40B4-BE49-F238E27FC236}">
                <a16:creationId xmlns:a16="http://schemas.microsoft.com/office/drawing/2014/main" id="{A67E3116-B0CF-FF3C-619D-CCE01A77CA32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6388" name="Rectangle 2">
            <a:extLst>
              <a:ext uri="{FF2B5EF4-FFF2-40B4-BE49-F238E27FC236}">
                <a16:creationId xmlns:a16="http://schemas.microsoft.com/office/drawing/2014/main" id="{26B7FE33-2EB2-B6DF-50A5-F9F2EF6DC16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70363" y="1276350"/>
            <a:ext cx="15043151" cy="8462963"/>
          </a:xfrm>
          <a:ln/>
        </p:spPr>
      </p:sp>
      <p:sp>
        <p:nvSpPr>
          <p:cNvPr id="16389" name="Rectangle 3">
            <a:extLst>
              <a:ext uri="{FF2B5EF4-FFF2-40B4-BE49-F238E27FC236}">
                <a16:creationId xmlns:a16="http://schemas.microsoft.com/office/drawing/2014/main" id="{DE71FE2C-9199-6BA4-2BD3-8957F5C6CBE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>
            <a:extLst>
              <a:ext uri="{FF2B5EF4-FFF2-40B4-BE49-F238E27FC236}">
                <a16:creationId xmlns:a16="http://schemas.microsoft.com/office/drawing/2014/main" id="{DAF1292B-7EBB-1850-96DE-891FD0126B3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1737D543-82A3-4457-B4ED-9981BE82A776}" type="slidenum">
              <a:rPr lang="en-US" altLang="en-US" sz="1200"/>
              <a:pPr>
                <a:buClrTx/>
              </a:pPr>
              <a:t>17</a:t>
            </a:fld>
            <a:endParaRPr lang="en-US" altLang="en-US" sz="1200"/>
          </a:p>
        </p:txBody>
      </p:sp>
      <p:sp>
        <p:nvSpPr>
          <p:cNvPr id="18435" name="doc id">
            <a:extLst>
              <a:ext uri="{FF2B5EF4-FFF2-40B4-BE49-F238E27FC236}">
                <a16:creationId xmlns:a16="http://schemas.microsoft.com/office/drawing/2014/main" id="{F9B3793C-2324-2331-F838-426775E6B4A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8436" name="Rectangle 2">
            <a:extLst>
              <a:ext uri="{FF2B5EF4-FFF2-40B4-BE49-F238E27FC236}">
                <a16:creationId xmlns:a16="http://schemas.microsoft.com/office/drawing/2014/main" id="{5A67CA9F-4AB8-44AE-A828-99337DB6FF3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70363" y="1276350"/>
            <a:ext cx="15043151" cy="8462963"/>
          </a:xfrm>
          <a:ln/>
        </p:spPr>
      </p:sp>
      <p:sp>
        <p:nvSpPr>
          <p:cNvPr id="18437" name="Rectangle 3">
            <a:extLst>
              <a:ext uri="{FF2B5EF4-FFF2-40B4-BE49-F238E27FC236}">
                <a16:creationId xmlns:a16="http://schemas.microsoft.com/office/drawing/2014/main" id="{88B56B29-025B-56AF-0ADF-A29B4C4E16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>
            <a:extLst>
              <a:ext uri="{FF2B5EF4-FFF2-40B4-BE49-F238E27FC236}">
                <a16:creationId xmlns:a16="http://schemas.microsoft.com/office/drawing/2014/main" id="{DAF1292B-7EBB-1850-96DE-891FD0126B3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1737D543-82A3-4457-B4ED-9981BE82A776}" type="slidenum">
              <a:rPr lang="en-US" altLang="en-US" sz="1200"/>
              <a:pPr>
                <a:buClrTx/>
              </a:pPr>
              <a:t>18</a:t>
            </a:fld>
            <a:endParaRPr lang="en-US" altLang="en-US" sz="1200"/>
          </a:p>
        </p:txBody>
      </p:sp>
      <p:sp>
        <p:nvSpPr>
          <p:cNvPr id="18435" name="doc id">
            <a:extLst>
              <a:ext uri="{FF2B5EF4-FFF2-40B4-BE49-F238E27FC236}">
                <a16:creationId xmlns:a16="http://schemas.microsoft.com/office/drawing/2014/main" id="{F9B3793C-2324-2331-F838-426775E6B4A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8436" name="Rectangle 2">
            <a:extLst>
              <a:ext uri="{FF2B5EF4-FFF2-40B4-BE49-F238E27FC236}">
                <a16:creationId xmlns:a16="http://schemas.microsoft.com/office/drawing/2014/main" id="{5A67CA9F-4AB8-44AE-A828-99337DB6FF3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70363" y="1276350"/>
            <a:ext cx="15043151" cy="8462963"/>
          </a:xfrm>
          <a:ln/>
        </p:spPr>
      </p:sp>
      <p:sp>
        <p:nvSpPr>
          <p:cNvPr id="18437" name="Rectangle 3">
            <a:extLst>
              <a:ext uri="{FF2B5EF4-FFF2-40B4-BE49-F238E27FC236}">
                <a16:creationId xmlns:a16="http://schemas.microsoft.com/office/drawing/2014/main" id="{88B56B29-025B-56AF-0ADF-A29B4C4E16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83659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>
            <a:extLst>
              <a:ext uri="{FF2B5EF4-FFF2-40B4-BE49-F238E27FC236}">
                <a16:creationId xmlns:a16="http://schemas.microsoft.com/office/drawing/2014/main" id="{770ACE2D-9238-6345-963E-3557007448B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0483" name="Notes Placeholder 2">
            <a:extLst>
              <a:ext uri="{FF2B5EF4-FFF2-40B4-BE49-F238E27FC236}">
                <a16:creationId xmlns:a16="http://schemas.microsoft.com/office/drawing/2014/main" id="{8A999E64-A79E-89CA-2077-C0E8B51CF2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/>
          </a:p>
        </p:txBody>
      </p:sp>
      <p:sp>
        <p:nvSpPr>
          <p:cNvPr id="20484" name="Slide Number Placeholder 3">
            <a:extLst>
              <a:ext uri="{FF2B5EF4-FFF2-40B4-BE49-F238E27FC236}">
                <a16:creationId xmlns:a16="http://schemas.microsoft.com/office/drawing/2014/main" id="{27D90DFE-AB28-9C89-1520-F9705F4301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B2E8888-9AA4-4DBF-940C-FD31ED99166A}" type="slidenum">
              <a:rPr lang="en-US" altLang="en-US" sz="1200"/>
              <a:pPr/>
              <a:t>19</a:t>
            </a:fld>
            <a:endParaRPr lang="en-US" altLang="en-US" sz="1200"/>
          </a:p>
        </p:txBody>
      </p:sp>
      <p:sp>
        <p:nvSpPr>
          <p:cNvPr id="20485" name="Footer Placeholder 4">
            <a:extLst>
              <a:ext uri="{FF2B5EF4-FFF2-40B4-BE49-F238E27FC236}">
                <a16:creationId xmlns:a16="http://schemas.microsoft.com/office/drawing/2014/main" id="{5C7B3B84-BACD-47AD-D755-EDE1A513052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cs-CZ" altLang="en-US" sz="800"/>
              <a:t>NYO-AAA123-20090123-</a:t>
            </a: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853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2219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505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6056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9091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05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94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7">
            <a:extLst>
              <a:ext uri="{FF2B5EF4-FFF2-40B4-BE49-F238E27FC236}">
                <a16:creationId xmlns:a16="http://schemas.microsoft.com/office/drawing/2014/main" id="{E3B6C405-2DF2-48C1-97B2-96924A14262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0097BC92-08E6-48AC-A72F-DD7E5F64E6D5}" type="slidenum">
              <a:rPr lang="en-US" altLang="en-US" sz="1200"/>
              <a:pPr>
                <a:buClrTx/>
              </a:pPr>
              <a:t>26</a:t>
            </a:fld>
            <a:endParaRPr lang="en-US" altLang="en-US" sz="1200"/>
          </a:p>
        </p:txBody>
      </p:sp>
      <p:sp>
        <p:nvSpPr>
          <p:cNvPr id="141315" name="doc id">
            <a:extLst>
              <a:ext uri="{FF2B5EF4-FFF2-40B4-BE49-F238E27FC236}">
                <a16:creationId xmlns:a16="http://schemas.microsoft.com/office/drawing/2014/main" id="{E114D25E-10C0-C236-6B36-ED57C5F7237E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41316" name="Rectangle 2">
            <a:extLst>
              <a:ext uri="{FF2B5EF4-FFF2-40B4-BE49-F238E27FC236}">
                <a16:creationId xmlns:a16="http://schemas.microsoft.com/office/drawing/2014/main" id="{94DBFE63-6A23-E398-2DB4-DA04C44D954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60838" y="1276350"/>
            <a:ext cx="15039976" cy="8461375"/>
          </a:xfrm>
          <a:ln/>
        </p:spPr>
      </p:sp>
      <p:sp>
        <p:nvSpPr>
          <p:cNvPr id="141317" name="Rectangle 3">
            <a:extLst>
              <a:ext uri="{FF2B5EF4-FFF2-40B4-BE49-F238E27FC236}">
                <a16:creationId xmlns:a16="http://schemas.microsoft.com/office/drawing/2014/main" id="{6350522B-DE84-B805-FA34-D8C47544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5600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2069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76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036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710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0112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619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522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441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404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15.emf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18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9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0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alt 2" preserve="1">
  <p:cSld name="Purple 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781A59-D409-4780-928D-BAE35209F8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460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781A59-D409-4780-928D-BAE35209F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;g8d09728e15_0_479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636" y="288321"/>
            <a:ext cx="2327563" cy="46632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;g8d09728e15_0_479"/>
          <p:cNvSpPr txBox="1">
            <a:spLocks noGrp="1"/>
          </p:cNvSpPr>
          <p:nvPr>
            <p:ph type="title"/>
          </p:nvPr>
        </p:nvSpPr>
        <p:spPr>
          <a:xfrm>
            <a:off x="330334" y="2855261"/>
            <a:ext cx="7759500" cy="56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3200" b="1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g8d09728e15_0_479"/>
          <p:cNvSpPr txBox="1">
            <a:spLocks noGrp="1"/>
          </p:cNvSpPr>
          <p:nvPr>
            <p:ph type="subTitle" idx="1"/>
          </p:nvPr>
        </p:nvSpPr>
        <p:spPr>
          <a:xfrm>
            <a:off x="333171" y="345025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g8d09728e15_0_479"/>
          <p:cNvSpPr/>
          <p:nvPr/>
        </p:nvSpPr>
        <p:spPr>
          <a:xfrm>
            <a:off x="335325" y="4696375"/>
            <a:ext cx="4446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FIDENTIAL AND PROPRIETA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rgbClr val="C0C0C0"/>
                </a:solidFill>
                <a:latin typeface="Calibri"/>
                <a:ea typeface="Calibri"/>
                <a:cs typeface="Calibri"/>
                <a:sym typeface="Calibri"/>
              </a:rPr>
              <a:t>© Encora 2025.  Any use of this material without specific permission is strictly prohibit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g8d09728e15_0_479"/>
          <p:cNvSpPr txBox="1">
            <a:spLocks noGrp="1"/>
          </p:cNvSpPr>
          <p:nvPr>
            <p:ph type="subTitle" idx="2"/>
          </p:nvPr>
        </p:nvSpPr>
        <p:spPr>
          <a:xfrm>
            <a:off x="5537775" y="4385675"/>
            <a:ext cx="3470100" cy="68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D9D9D9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8d09728e15_0_479"/>
          <p:cNvSpPr txBox="1">
            <a:spLocks noGrp="1"/>
          </p:cNvSpPr>
          <p:nvPr>
            <p:ph type="subTitle" idx="3"/>
          </p:nvPr>
        </p:nvSpPr>
        <p:spPr>
          <a:xfrm>
            <a:off x="333171" y="378440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918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3">
          <p15:clr>
            <a:srgbClr val="FA7B17"/>
          </p15:clr>
        </p15:guide>
        <p15:guide id="2" orient="horz" pos="2520">
          <p15:clr>
            <a:srgbClr val="FA7B17"/>
          </p15:clr>
        </p15:guide>
        <p15:guide id="3" pos="262">
          <p15:clr>
            <a:srgbClr val="FA7B17"/>
          </p15:clr>
        </p15:guide>
        <p15:guide id="4" orient="horz" pos="2958">
          <p15:clr>
            <a:srgbClr val="FA7B17"/>
          </p15:clr>
        </p15:guide>
        <p15:guide id="5" orient="horz" pos="3191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32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25">
            <a:extLst>
              <a:ext uri="{FF2B5EF4-FFF2-40B4-BE49-F238E27FC236}">
                <a16:creationId xmlns:a16="http://schemas.microsoft.com/office/drawing/2014/main" id="{E0A77C9C-662E-4DFA-9CE9-D2A8CE5CF0F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2519570"/>
          </a:xfrm>
          <a:prstGeom prst="rect">
            <a:avLst/>
          </a:prstGeom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9;p28">
            <a:extLst>
              <a:ext uri="{FF2B5EF4-FFF2-40B4-BE49-F238E27FC236}">
                <a16:creationId xmlns:a16="http://schemas.microsoft.com/office/drawing/2014/main" id="{F6A8575F-8EC8-F1B0-75BE-185EBAD10DF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21949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8EE039D8-C5AD-89C1-F728-194388EF113D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A61A52E3-520F-19CB-D90E-FC709269B91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920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Lef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47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" descr="Image 1">
            <a:extLst>
              <a:ext uri="{FF2B5EF4-FFF2-40B4-BE49-F238E27FC236}">
                <a16:creationId xmlns:a16="http://schemas.microsoft.com/office/drawing/2014/main" id="{DE750228-9F62-3A8B-877A-959F3BE9DD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4854259" cy="5143500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29;p28">
            <a:extLst>
              <a:ext uri="{FF2B5EF4-FFF2-40B4-BE49-F238E27FC236}">
                <a16:creationId xmlns:a16="http://schemas.microsoft.com/office/drawing/2014/main" id="{C05EB109-A11E-FE2C-529A-B923CF3184B4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1234A672-BD9C-0BDA-6405-E972E7761BA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6E7994B4-AE64-881D-EABB-F8B2CCB6CE6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8C5676B5-2F65-7E37-B2AB-A5A2DADC9A6F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4825387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Righ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269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" descr="Image 1">
            <a:extLst>
              <a:ext uri="{FF2B5EF4-FFF2-40B4-BE49-F238E27FC236}">
                <a16:creationId xmlns:a16="http://schemas.microsoft.com/office/drawing/2014/main" id="{4CB3F2F3-2E40-6A7E-15F6-650B627A74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83982" y="0"/>
            <a:ext cx="4960018" cy="5146381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" name="Google Shape;29;p28">
            <a:extLst>
              <a:ext uri="{FF2B5EF4-FFF2-40B4-BE49-F238E27FC236}">
                <a16:creationId xmlns:a16="http://schemas.microsoft.com/office/drawing/2014/main" id="{CEE79A5D-7A08-45D9-6DA2-D70F911EEE4C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F11EE9D8-FC76-84D6-D9C4-8A307BDEE7C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82CBF7F4-FBC8-0BDC-FB19-1509C3AC5FD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2E5BCAC7-AFAA-E5B9-468E-A7B2C154AF6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5350355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04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0" descr="Image 0">
            <a:extLst>
              <a:ext uri="{FF2B5EF4-FFF2-40B4-BE49-F238E27FC236}">
                <a16:creationId xmlns:a16="http://schemas.microsoft.com/office/drawing/2014/main" id="{A0DD152A-ED92-A5FA-29EB-4480F87E7CD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0"/>
            <a:ext cx="9144000" cy="2285714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3144F3CD-701B-FB6F-A0C5-A9BBF7686D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36565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229A4F0-3F6B-E088-4C30-C95AB1437F0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E7F75087-AC6A-DCFC-5D24-8E90658E7AB7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09082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1_Content - Whit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27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8FE566E-EBBA-775B-CB37-DE167895FDB5}"/>
              </a:ext>
            </a:extLst>
          </p:cNvPr>
          <p:cNvSpPr/>
          <p:nvPr userDrawn="1"/>
        </p:nvSpPr>
        <p:spPr>
          <a:xfrm>
            <a:off x="0" y="0"/>
            <a:ext cx="9144000" cy="4592225"/>
          </a:xfrm>
          <a:prstGeom prst="rect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latin typeface="IBM Plex Sans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5" name="Google Shape;37;g8d09728e15_0_47">
            <a:extLst>
              <a:ext uri="{FF2B5EF4-FFF2-40B4-BE49-F238E27FC236}">
                <a16:creationId xmlns:a16="http://schemas.microsoft.com/office/drawing/2014/main" id="{0A66FB5C-87FF-D0E1-7906-4B8249644632}"/>
              </a:ext>
            </a:extLst>
          </p:cNvPr>
          <p:cNvPicPr preferRelativeResize="0"/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93D308DB-B9C4-49DB-CC65-681F2CCD810B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7" name="Google Shape;25;p28">
            <a:extLst>
              <a:ext uri="{FF2B5EF4-FFF2-40B4-BE49-F238E27FC236}">
                <a16:creationId xmlns:a16="http://schemas.microsoft.com/office/drawing/2014/main" id="{CC71005C-8204-AD48-C485-F60EE3221D6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D907E528-E3E5-1B87-67BD-76C6F855144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0676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31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8">
            <a:extLst>
              <a:ext uri="{FF2B5EF4-FFF2-40B4-BE49-F238E27FC236}">
                <a16:creationId xmlns:a16="http://schemas.microsoft.com/office/drawing/2014/main" id="{B2D25745-B546-4AAA-91A7-E7E9D74675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4" name="Google Shape;15;p29">
            <a:extLst>
              <a:ext uri="{FF2B5EF4-FFF2-40B4-BE49-F238E27FC236}">
                <a16:creationId xmlns:a16="http://schemas.microsoft.com/office/drawing/2014/main" id="{72D2AE0E-D9E1-6B1F-832E-DA9E3F9ED7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89E1D04-E28C-9BB3-64D7-7A8C075FEE7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27BF5520-21D7-010E-71C5-353FEBA5ED9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59091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Yellow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05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7">
            <a:extLst>
              <a:ext uri="{FF2B5EF4-FFF2-40B4-BE49-F238E27FC236}">
                <a16:creationId xmlns:a16="http://schemas.microsoft.com/office/drawing/2014/main" id="{7CB57D86-AF4D-4976-9A6C-8B702E5201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4" y="0"/>
            <a:ext cx="2218545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9D83BBC-F4AF-BD6F-11A3-FC56F84847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A0F418E9-C3D5-9E32-C8BF-999F99B646E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F56FE11-AC29-78B9-1E63-C85FC11BD201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885420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Red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95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10">
            <a:extLst>
              <a:ext uri="{FF2B5EF4-FFF2-40B4-BE49-F238E27FC236}">
                <a16:creationId xmlns:a16="http://schemas.microsoft.com/office/drawing/2014/main" id="{DD20F912-0A2B-40A6-A7AF-0579D11EE4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2A252E31-765D-9065-99A7-E0AAE83D4A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36FA677-C60F-C25B-49FA-3A480E52520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1F7F4DB0-CDEC-6C35-111C-8CF82743E9A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2818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en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645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FA41ED2C-CEA8-4F1E-867D-2A71E8726D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EFEF6E83-C7FD-80A2-D538-395CDE1EA07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B726A6B-F9A2-07C5-17F9-51D65552FAD9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E9B2D76E-5C48-1EA7-706B-DA07B43E489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36050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994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9">
            <a:extLst>
              <a:ext uri="{FF2B5EF4-FFF2-40B4-BE49-F238E27FC236}">
                <a16:creationId xmlns:a16="http://schemas.microsoft.com/office/drawing/2014/main" id="{1B3F76CB-0124-47EE-B951-5BE665CB8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BC82511-EEC6-8E8D-1C0D-A924FC68EB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EE1886B-9A12-3A78-3E94-3B742393143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D9AEDCAE-6935-E6A9-CF23-18E9BD6FB20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08840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1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05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28"/>
          <p:cNvSpPr txBox="1"/>
          <p:nvPr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Insert declarative statement or imperative (one line)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0642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y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62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A7B259F-26CD-4ABD-BF24-0079E4EFB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3E85A0F-DCFE-2949-EA45-1F41F6CA9B1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9B8F005A-A9CD-D0A5-D4CB-C0E33E44002F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4688E7D1-8031-CB34-0E5B-F01BDB0AFA6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97440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Dark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89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4D2D916-4C0A-4C8A-9266-4177AA4575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68B934C1-D0BD-D3B7-17C4-B338E38F4C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CAAD7DE3-956C-98F8-B0BB-FF2FE66D9A4B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B1DA27BB-5EBA-71A9-943E-D89271EB797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42450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9D6CAC-079A-4C0C-9E95-15C5DEE6E7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84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9D6CAC-079A-4C0C-9E95-15C5DEE6E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27;p12">
            <a:extLst>
              <a:ext uri="{FF2B5EF4-FFF2-40B4-BE49-F238E27FC236}">
                <a16:creationId xmlns:a16="http://schemas.microsoft.com/office/drawing/2014/main" id="{2416DEF2-76A2-4DC7-8535-A36DA50BC677}"/>
              </a:ext>
            </a:extLst>
          </p:cNvPr>
          <p:cNvPicPr preferRelativeResize="0"/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900"/>
          <a:stretch/>
        </p:blipFill>
        <p:spPr>
          <a:xfrm>
            <a:off x="8469310" y="4739843"/>
            <a:ext cx="259425" cy="2352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5;p28">
            <a:extLst>
              <a:ext uri="{FF2B5EF4-FFF2-40B4-BE49-F238E27FC236}">
                <a16:creationId xmlns:a16="http://schemas.microsoft.com/office/drawing/2014/main" id="{31E382B2-2C5C-1200-6CD3-E91C4B518A8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330342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2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21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68" imgH="670" progId="TCLayout.ActiveDocument.1">
                  <p:embed/>
                </p:oleObj>
              </mc:Choice>
              <mc:Fallback>
                <p:oleObj name="think-cell Slide" r:id="rId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Use this slide template for headlines that require two lines of text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696805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AutoShape 8">
            <a:extLst>
              <a:ext uri="{FF2B5EF4-FFF2-40B4-BE49-F238E27FC236}">
                <a16:creationId xmlns:a16="http://schemas.microsoft.com/office/drawing/2014/main" id="{399051AD-1433-AF0F-2CF6-DDC801478B8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7568876" y="696805"/>
            <a:ext cx="1346522" cy="1538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r" eaLnBrk="1" hangingPunct="1"/>
            <a:r>
              <a:rPr lang="en-US" altLang="en-US" sz="1000" b="1" dirty="0">
                <a:solidFill>
                  <a:srgbClr val="C33131"/>
                </a:solidFill>
                <a:latin typeface="Arial" panose="020B0604020202020204" pitchFamily="34" charset="0"/>
              </a:rPr>
              <a:t>STICKER (OPTIONAL)</a:t>
            </a:r>
          </a:p>
        </p:txBody>
      </p:sp>
      <p:cxnSp>
        <p:nvCxnSpPr>
          <p:cNvPr id="4" name="AutoShape 9">
            <a:extLst>
              <a:ext uri="{FF2B5EF4-FFF2-40B4-BE49-F238E27FC236}">
                <a16:creationId xmlns:a16="http://schemas.microsoft.com/office/drawing/2014/main" id="{75E52EA5-8D6F-8176-F24A-97C159E09B1E}"/>
              </a:ext>
            </a:extLst>
          </p:cNvPr>
          <p:cNvCxnSpPr>
            <a:cxnSpLocks noChangeShapeType="1"/>
            <a:stCxn id="3" idx="2"/>
            <a:endCxn id="3" idx="0"/>
          </p:cNvCxnSpPr>
          <p:nvPr userDrawn="1">
            <p:custDataLst>
              <p:tags r:id="rId3"/>
            </p:custDataLst>
          </p:nvPr>
        </p:nvCxnSpPr>
        <p:spPr bwMode="auto">
          <a:xfrm>
            <a:off x="7568876" y="696805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AutoShape 10">
            <a:extLst>
              <a:ext uri="{FF2B5EF4-FFF2-40B4-BE49-F238E27FC236}">
                <a16:creationId xmlns:a16="http://schemas.microsoft.com/office/drawing/2014/main" id="{03610109-09F1-67F8-FCB6-DF9B4F349832}"/>
              </a:ext>
            </a:extLst>
          </p:cNvPr>
          <p:cNvCxnSpPr>
            <a:cxnSpLocks noChangeShapeType="1"/>
            <a:stCxn id="3" idx="4"/>
            <a:endCxn id="3" idx="6"/>
          </p:cNvCxnSpPr>
          <p:nvPr userDrawn="1">
            <p:custDataLst>
              <p:tags r:id="rId4"/>
            </p:custDataLst>
          </p:nvPr>
        </p:nvCxnSpPr>
        <p:spPr bwMode="auto">
          <a:xfrm>
            <a:off x="7568876" y="850693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E345FAD9-4D20-FCD3-5CD1-9C0C57E17B2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06328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fidential Content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4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onfidential info on this slide not to be distributed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02E45E1-B8EC-5742-BDC5-7EB75F365699}"/>
              </a:ext>
            </a:extLst>
          </p:cNvPr>
          <p:cNvSpPr/>
          <p:nvPr userDrawn="1"/>
        </p:nvSpPr>
        <p:spPr>
          <a:xfrm>
            <a:off x="0" y="0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15B7E9-6E3E-6307-AC4C-C846BF834F0B}"/>
              </a:ext>
            </a:extLst>
          </p:cNvPr>
          <p:cNvSpPr/>
          <p:nvPr userDrawn="1"/>
        </p:nvSpPr>
        <p:spPr>
          <a:xfrm>
            <a:off x="0" y="5002295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62616F3A-D2F2-F047-92F0-F82BEEA0C68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596210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hite - Purple Header" preserve="1" userDrawn="1">
  <p:cSld name="Content - Purple">
    <p:bg>
      <p:bgPr>
        <a:solidFill>
          <a:schemeClr val="lt1"/>
        </a:solidFill>
        <a:effectLst/>
      </p:bgPr>
    </p:bg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D2667-09CB-406A-8235-1109AC12A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71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1D2667-09CB-406A-8235-1109AC12A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oogle Shape;31;g8d09728e15_0_47"/>
          <p:cNvPicPr preferRelativeResize="0"/>
          <p:nvPr/>
        </p:nvPicPr>
        <p:blipFill rotWithShape="1">
          <a:blip r:embed="rId5" cstate="print"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"/>
          <a:stretch/>
        </p:blipFill>
        <p:spPr>
          <a:xfrm rot="10800000">
            <a:off x="0" y="-75"/>
            <a:ext cx="9144000" cy="819300"/>
          </a:xfrm>
          <a:prstGeom prst="round1Rect">
            <a:avLst>
              <a:gd name="adj" fmla="val 50000"/>
            </a:avLst>
          </a:prstGeom>
          <a:noFill/>
          <a:ln>
            <a:noFill/>
          </a:ln>
        </p:spPr>
      </p:pic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C3144D9-1C6C-0AB6-86DB-B1C6EACBA8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21226" y="279224"/>
            <a:ext cx="1394177" cy="282923"/>
          </a:xfrm>
          <a:prstGeom prst="rect">
            <a:avLst/>
          </a:prstGeom>
        </p:spPr>
      </p:pic>
      <p:sp>
        <p:nvSpPr>
          <p:cNvPr id="34" name="Google Shape;34;g8d09728e15_0_47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35" name="Google Shape;35;g8d09728e15_0_47"/>
          <p:cNvSpPr txBox="1">
            <a:spLocks noGrp="1"/>
          </p:cNvSpPr>
          <p:nvPr>
            <p:ph type="subTitle" idx="1"/>
          </p:nvPr>
        </p:nvSpPr>
        <p:spPr>
          <a:xfrm>
            <a:off x="261850" y="726685"/>
            <a:ext cx="86535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42160ABD-E79E-C315-BCEA-65A63118B135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A702F0AA-24C7-918D-BA3F-0D1CBA6EF22A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979F132A-53B8-190F-1235-E240361DEE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44891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  <p15:guide id="11" orient="horz" pos="516">
          <p15:clr>
            <a:srgbClr val="FA7B17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Light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7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92CF6977-2D2F-0346-3EF0-249496E0E7E8}"/>
              </a:ext>
            </a:extLst>
          </p:cNvPr>
          <p:cNvGrpSpPr/>
          <p:nvPr userDrawn="1"/>
        </p:nvGrpSpPr>
        <p:grpSpPr>
          <a:xfrm>
            <a:off x="1" y="1"/>
            <a:ext cx="9144000" cy="1383332"/>
            <a:chOff x="0" y="0"/>
            <a:chExt cx="16258033" cy="2459565"/>
          </a:xfrm>
        </p:grpSpPr>
        <p:pic>
          <p:nvPicPr>
            <p:cNvPr id="6" name="Image 0" descr="Image 0">
              <a:extLst>
                <a:ext uri="{FF2B5EF4-FFF2-40B4-BE49-F238E27FC236}">
                  <a16:creationId xmlns:a16="http://schemas.microsoft.com/office/drawing/2014/main" id="{D55D02E1-3631-6548-8502-186DAFE6CE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16258033" cy="1612900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7" name="Image 1" descr="Image 1">
              <a:extLst>
                <a:ext uri="{FF2B5EF4-FFF2-40B4-BE49-F238E27FC236}">
                  <a16:creationId xmlns:a16="http://schemas.microsoft.com/office/drawing/2014/main" id="{29F6AD1F-275B-9DCA-364C-69C0126038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1612900"/>
              <a:ext cx="846771" cy="846665"/>
            </a:xfrm>
            <a:prstGeom prst="rect">
              <a:avLst/>
            </a:prstGeom>
            <a:ln w="3175">
              <a:miter lim="400000"/>
            </a:ln>
          </p:spPr>
        </p:pic>
      </p:grp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09214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09214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2" name="Google Shape;28;p28">
            <a:extLst>
              <a:ext uri="{FF2B5EF4-FFF2-40B4-BE49-F238E27FC236}">
                <a16:creationId xmlns:a16="http://schemas.microsoft.com/office/drawing/2014/main" id="{7F14B27B-D10A-A3FF-F632-4C69A3CA20D7}"/>
              </a:ext>
            </a:extLst>
          </p:cNvPr>
          <p:cNvPicPr preferRelativeResize="0"/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CA75AF49-A157-96DA-5B23-4843D59E121D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F6C5C37C-3F19-C9B0-25C3-56EA1D66B10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66071645-E650-F8E6-BAB8-2EB9F58FC29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306370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" preserve="1">
  <p:cSld name="Section Header - White"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E41831-B9EF-64D6-EF04-7500888819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13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E41831-B9EF-64D6-EF04-750088881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15;p29"/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6" name="Google Shape;16;p29"/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C181CE91-E840-F9BC-24C5-CAE00555323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C369715D-7826-2D89-AE91-105451DF403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31956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 1" preserve="1" userDrawn="1">
  <p:cSld name="Section Header - Purple">
    <p:bg>
      <p:bgPr>
        <a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81FB059-FB79-68ED-C8B8-2E7CF0D92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62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1FB059-FB79-68ED-C8B8-2E7CF0D92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D19F7C2-6FC3-41D9-94F7-4B2F862F2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chemeClr val="bg1"/>
                </a:solidFill>
                <a:latin typeface="Montserrat SemiBold" panose="020B060402020202020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oogle Shape;40;g8e661b59ff_0_450" descr="Google Shape;40;g8e661b59ff_0_450">
            <a:extLst>
              <a:ext uri="{FF2B5EF4-FFF2-40B4-BE49-F238E27FC236}">
                <a16:creationId xmlns:a16="http://schemas.microsoft.com/office/drawing/2014/main" id="{57271E73-3CE4-4558-AC4D-060A83D202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1224" y="279212"/>
            <a:ext cx="1394174" cy="279652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0B9A210-EC9A-03E6-8D20-FF26D6503425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6ACA7229-B67F-D190-F55A-18F8D80CF2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270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Exampl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14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E2C0CFDF-5E2A-4995-86D5-8DBC045407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4102792" cy="5143500"/>
          </a:xfrm>
          <a:prstGeom prst="rect">
            <a:avLst/>
          </a:prstGeom>
        </p:spPr>
      </p:pic>
      <p:sp>
        <p:nvSpPr>
          <p:cNvPr id="10" name="Google Shape;26;p28">
            <a:extLst>
              <a:ext uri="{FF2B5EF4-FFF2-40B4-BE49-F238E27FC236}">
                <a16:creationId xmlns:a16="http://schemas.microsoft.com/office/drawing/2014/main" id="{39D94F14-82B8-A843-93B8-ABEB2FB2E4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091572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35;g8d09728e15_0_47">
            <a:extLst>
              <a:ext uri="{FF2B5EF4-FFF2-40B4-BE49-F238E27FC236}">
                <a16:creationId xmlns:a16="http://schemas.microsoft.com/office/drawing/2014/main" id="{A1AA8081-B6C4-4EDA-9040-73957A69894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091572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9;p28">
            <a:extLst>
              <a:ext uri="{FF2B5EF4-FFF2-40B4-BE49-F238E27FC236}">
                <a16:creationId xmlns:a16="http://schemas.microsoft.com/office/drawing/2014/main" id="{BE192065-37D9-142B-8EE7-BC59A3A1AC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3213383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84EA04E3-CC8C-C0E0-4669-0AFB59E2DCE6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3827388" y="1451525"/>
            <a:ext cx="4960335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3B9530A4-919A-29C9-0B04-4EAB975799F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405F8F4-5823-F56A-4B9B-3C0FEB5A687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28090598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0F4CD3-4BCD-46EA-B65A-CE7EC84D9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70584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68" imgH="670" progId="TCLayout.ActiveDocument.1">
                  <p:embed/>
                </p:oleObj>
              </mc:Choice>
              <mc:Fallback>
                <p:oleObj name="think-cell Slide" r:id="rId2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0F4CD3-4BCD-46EA-B65A-CE7EC84D9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82" r:id="rId2"/>
    <p:sldLayoutId id="2147483659" r:id="rId3"/>
    <p:sldLayoutId id="2147483683" r:id="rId4"/>
    <p:sldLayoutId id="2147483660" r:id="rId5"/>
    <p:sldLayoutId id="2147483675" r:id="rId6"/>
    <p:sldLayoutId id="2147483673" r:id="rId7"/>
    <p:sldLayoutId id="2147483674" r:id="rId8"/>
    <p:sldLayoutId id="2147483661" r:id="rId9"/>
    <p:sldLayoutId id="2147483662" r:id="rId10"/>
    <p:sldLayoutId id="2147483676" r:id="rId11"/>
    <p:sldLayoutId id="2147483677" r:id="rId12"/>
    <p:sldLayoutId id="2147483678" r:id="rId13"/>
    <p:sldLayoutId id="2147483681" r:id="rId14"/>
    <p:sldLayoutId id="2147483666" r:id="rId15"/>
    <p:sldLayoutId id="2147483667" r:id="rId16"/>
    <p:sldLayoutId id="2147483669" r:id="rId17"/>
    <p:sldLayoutId id="2147483668" r:id="rId18"/>
    <p:sldLayoutId id="2147483670" r:id="rId19"/>
    <p:sldLayoutId id="2147483671" r:id="rId20"/>
    <p:sldLayoutId id="2147483672" r:id="rId21"/>
    <p:sldLayoutId id="2147483665" r:id="rId22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.xml"/><Relationship Id="rId6" Type="http://schemas.openxmlformats.org/officeDocument/2006/relationships/image" Target="../media/image2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10.emf"/><Relationship Id="rId5" Type="http://schemas.openxmlformats.org/officeDocument/2006/relationships/tags" Target="../tags/tag45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44.xml"/><Relationship Id="rId9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9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2.xml"/><Relationship Id="rId6" Type="http://schemas.openxmlformats.org/officeDocument/2006/relationships/image" Target="../media/image2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3.xml"/><Relationship Id="rId6" Type="http://schemas.openxmlformats.org/officeDocument/2006/relationships/image" Target="../media/image2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Relationship Id="rId6" Type="http://schemas.openxmlformats.org/officeDocument/2006/relationships/image" Target="../media/image2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6" Type="http://schemas.openxmlformats.org/officeDocument/2006/relationships/image" Target="../media/image30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10.emf"/><Relationship Id="rId5" Type="http://schemas.openxmlformats.org/officeDocument/2006/relationships/tags" Target="../tags/tag61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60.xml"/><Relationship Id="rId9" Type="http://schemas.openxmlformats.org/officeDocument/2006/relationships/notesSlide" Target="../notesSlides/notesSlide23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1.png"/><Relationship Id="rId117" Type="http://schemas.openxmlformats.org/officeDocument/2006/relationships/image" Target="../media/image142.png"/><Relationship Id="rId21" Type="http://schemas.openxmlformats.org/officeDocument/2006/relationships/image" Target="../media/image46.png"/><Relationship Id="rId42" Type="http://schemas.openxmlformats.org/officeDocument/2006/relationships/image" Target="../media/image67.png"/><Relationship Id="rId47" Type="http://schemas.openxmlformats.org/officeDocument/2006/relationships/image" Target="../media/image72.png"/><Relationship Id="rId63" Type="http://schemas.openxmlformats.org/officeDocument/2006/relationships/image" Target="../media/image88.png"/><Relationship Id="rId68" Type="http://schemas.openxmlformats.org/officeDocument/2006/relationships/image" Target="../media/image93.png"/><Relationship Id="rId84" Type="http://schemas.openxmlformats.org/officeDocument/2006/relationships/image" Target="../media/image109.png"/><Relationship Id="rId89" Type="http://schemas.openxmlformats.org/officeDocument/2006/relationships/image" Target="../media/image114.png"/><Relationship Id="rId112" Type="http://schemas.openxmlformats.org/officeDocument/2006/relationships/image" Target="../media/image137.png"/><Relationship Id="rId16" Type="http://schemas.openxmlformats.org/officeDocument/2006/relationships/image" Target="../media/image41.png"/><Relationship Id="rId107" Type="http://schemas.openxmlformats.org/officeDocument/2006/relationships/image" Target="../media/image132.png"/><Relationship Id="rId11" Type="http://schemas.openxmlformats.org/officeDocument/2006/relationships/image" Target="../media/image36.png"/><Relationship Id="rId32" Type="http://schemas.openxmlformats.org/officeDocument/2006/relationships/image" Target="../media/image57.png"/><Relationship Id="rId37" Type="http://schemas.openxmlformats.org/officeDocument/2006/relationships/image" Target="../media/image62.png"/><Relationship Id="rId53" Type="http://schemas.openxmlformats.org/officeDocument/2006/relationships/image" Target="../media/image78.png"/><Relationship Id="rId58" Type="http://schemas.openxmlformats.org/officeDocument/2006/relationships/image" Target="../media/image83.png"/><Relationship Id="rId74" Type="http://schemas.openxmlformats.org/officeDocument/2006/relationships/image" Target="../media/image99.png"/><Relationship Id="rId79" Type="http://schemas.openxmlformats.org/officeDocument/2006/relationships/image" Target="../media/image104.png"/><Relationship Id="rId102" Type="http://schemas.openxmlformats.org/officeDocument/2006/relationships/image" Target="../media/image127.png"/><Relationship Id="rId5" Type="http://schemas.openxmlformats.org/officeDocument/2006/relationships/image" Target="../media/image10.emf"/><Relationship Id="rId90" Type="http://schemas.openxmlformats.org/officeDocument/2006/relationships/image" Target="../media/image115.png"/><Relationship Id="rId95" Type="http://schemas.openxmlformats.org/officeDocument/2006/relationships/image" Target="../media/image120.png"/><Relationship Id="rId22" Type="http://schemas.openxmlformats.org/officeDocument/2006/relationships/image" Target="../media/image47.png"/><Relationship Id="rId27" Type="http://schemas.openxmlformats.org/officeDocument/2006/relationships/image" Target="../media/image52.png"/><Relationship Id="rId43" Type="http://schemas.openxmlformats.org/officeDocument/2006/relationships/image" Target="../media/image68.png"/><Relationship Id="rId48" Type="http://schemas.openxmlformats.org/officeDocument/2006/relationships/image" Target="../media/image73.png"/><Relationship Id="rId64" Type="http://schemas.openxmlformats.org/officeDocument/2006/relationships/image" Target="../media/image89.png"/><Relationship Id="rId69" Type="http://schemas.openxmlformats.org/officeDocument/2006/relationships/image" Target="../media/image94.png"/><Relationship Id="rId113" Type="http://schemas.openxmlformats.org/officeDocument/2006/relationships/image" Target="../media/image138.png"/><Relationship Id="rId118" Type="http://schemas.openxmlformats.org/officeDocument/2006/relationships/image" Target="../media/image143.png"/><Relationship Id="rId80" Type="http://schemas.openxmlformats.org/officeDocument/2006/relationships/image" Target="../media/image105.png"/><Relationship Id="rId85" Type="http://schemas.openxmlformats.org/officeDocument/2006/relationships/image" Target="../media/image110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33" Type="http://schemas.openxmlformats.org/officeDocument/2006/relationships/image" Target="../media/image58.png"/><Relationship Id="rId38" Type="http://schemas.openxmlformats.org/officeDocument/2006/relationships/image" Target="../media/image63.png"/><Relationship Id="rId59" Type="http://schemas.openxmlformats.org/officeDocument/2006/relationships/image" Target="../media/image84.png"/><Relationship Id="rId103" Type="http://schemas.openxmlformats.org/officeDocument/2006/relationships/image" Target="../media/image128.png"/><Relationship Id="rId108" Type="http://schemas.openxmlformats.org/officeDocument/2006/relationships/image" Target="../media/image133.png"/><Relationship Id="rId54" Type="http://schemas.openxmlformats.org/officeDocument/2006/relationships/image" Target="../media/image79.png"/><Relationship Id="rId70" Type="http://schemas.openxmlformats.org/officeDocument/2006/relationships/image" Target="../media/image95.png"/><Relationship Id="rId75" Type="http://schemas.openxmlformats.org/officeDocument/2006/relationships/image" Target="../media/image100.png"/><Relationship Id="rId91" Type="http://schemas.openxmlformats.org/officeDocument/2006/relationships/image" Target="../media/image116.png"/><Relationship Id="rId96" Type="http://schemas.openxmlformats.org/officeDocument/2006/relationships/image" Target="../media/image121.png"/><Relationship Id="rId1" Type="http://schemas.openxmlformats.org/officeDocument/2006/relationships/tags" Target="../tags/tag64.xml"/><Relationship Id="rId6" Type="http://schemas.openxmlformats.org/officeDocument/2006/relationships/image" Target="../media/image31.png"/><Relationship Id="rId23" Type="http://schemas.openxmlformats.org/officeDocument/2006/relationships/image" Target="../media/image48.png"/><Relationship Id="rId28" Type="http://schemas.openxmlformats.org/officeDocument/2006/relationships/image" Target="../media/image53.png"/><Relationship Id="rId49" Type="http://schemas.openxmlformats.org/officeDocument/2006/relationships/image" Target="../media/image74.png"/><Relationship Id="rId114" Type="http://schemas.openxmlformats.org/officeDocument/2006/relationships/image" Target="../media/image139.png"/><Relationship Id="rId119" Type="http://schemas.openxmlformats.org/officeDocument/2006/relationships/image" Target="../media/image29.png"/><Relationship Id="rId44" Type="http://schemas.openxmlformats.org/officeDocument/2006/relationships/image" Target="../media/image69.png"/><Relationship Id="rId60" Type="http://schemas.openxmlformats.org/officeDocument/2006/relationships/image" Target="../media/image85.png"/><Relationship Id="rId65" Type="http://schemas.openxmlformats.org/officeDocument/2006/relationships/image" Target="../media/image90.png"/><Relationship Id="rId81" Type="http://schemas.openxmlformats.org/officeDocument/2006/relationships/image" Target="../media/image106.png"/><Relationship Id="rId86" Type="http://schemas.openxmlformats.org/officeDocument/2006/relationships/image" Target="../media/image111.png"/><Relationship Id="rId4" Type="http://schemas.openxmlformats.org/officeDocument/2006/relationships/oleObject" Target="../embeddings/oleObject47.bin"/><Relationship Id="rId9" Type="http://schemas.openxmlformats.org/officeDocument/2006/relationships/image" Target="../media/image34.pn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39" Type="http://schemas.openxmlformats.org/officeDocument/2006/relationships/image" Target="../media/image64.png"/><Relationship Id="rId109" Type="http://schemas.openxmlformats.org/officeDocument/2006/relationships/image" Target="../media/image134.png"/><Relationship Id="rId34" Type="http://schemas.openxmlformats.org/officeDocument/2006/relationships/image" Target="../media/image59.png"/><Relationship Id="rId50" Type="http://schemas.openxmlformats.org/officeDocument/2006/relationships/image" Target="../media/image75.png"/><Relationship Id="rId55" Type="http://schemas.openxmlformats.org/officeDocument/2006/relationships/image" Target="../media/image80.png"/><Relationship Id="rId76" Type="http://schemas.openxmlformats.org/officeDocument/2006/relationships/image" Target="../media/image101.png"/><Relationship Id="rId97" Type="http://schemas.openxmlformats.org/officeDocument/2006/relationships/image" Target="../media/image122.png"/><Relationship Id="rId104" Type="http://schemas.openxmlformats.org/officeDocument/2006/relationships/image" Target="../media/image129.png"/><Relationship Id="rId120" Type="http://schemas.openxmlformats.org/officeDocument/2006/relationships/image" Target="../media/image144.png"/><Relationship Id="rId7" Type="http://schemas.openxmlformats.org/officeDocument/2006/relationships/image" Target="../media/image32.png"/><Relationship Id="rId71" Type="http://schemas.openxmlformats.org/officeDocument/2006/relationships/image" Target="../media/image96.png"/><Relationship Id="rId92" Type="http://schemas.openxmlformats.org/officeDocument/2006/relationships/image" Target="../media/image117.png"/><Relationship Id="rId2" Type="http://schemas.openxmlformats.org/officeDocument/2006/relationships/slideLayout" Target="../slideLayouts/slideLayout5.xml"/><Relationship Id="rId29" Type="http://schemas.openxmlformats.org/officeDocument/2006/relationships/image" Target="../media/image54.png"/><Relationship Id="rId24" Type="http://schemas.openxmlformats.org/officeDocument/2006/relationships/image" Target="../media/image49.png"/><Relationship Id="rId40" Type="http://schemas.openxmlformats.org/officeDocument/2006/relationships/image" Target="../media/image65.png"/><Relationship Id="rId45" Type="http://schemas.openxmlformats.org/officeDocument/2006/relationships/image" Target="../media/image70.png"/><Relationship Id="rId66" Type="http://schemas.openxmlformats.org/officeDocument/2006/relationships/image" Target="../media/image91.png"/><Relationship Id="rId87" Type="http://schemas.openxmlformats.org/officeDocument/2006/relationships/image" Target="../media/image112.png"/><Relationship Id="rId110" Type="http://schemas.openxmlformats.org/officeDocument/2006/relationships/image" Target="../media/image135.png"/><Relationship Id="rId115" Type="http://schemas.openxmlformats.org/officeDocument/2006/relationships/image" Target="../media/image140.png"/><Relationship Id="rId61" Type="http://schemas.openxmlformats.org/officeDocument/2006/relationships/image" Target="../media/image86.png"/><Relationship Id="rId82" Type="http://schemas.openxmlformats.org/officeDocument/2006/relationships/image" Target="../media/image107.png"/><Relationship Id="rId19" Type="http://schemas.openxmlformats.org/officeDocument/2006/relationships/image" Target="../media/image44.png"/><Relationship Id="rId14" Type="http://schemas.openxmlformats.org/officeDocument/2006/relationships/image" Target="../media/image39.png"/><Relationship Id="rId30" Type="http://schemas.openxmlformats.org/officeDocument/2006/relationships/image" Target="../media/image55.png"/><Relationship Id="rId35" Type="http://schemas.openxmlformats.org/officeDocument/2006/relationships/image" Target="../media/image60.png"/><Relationship Id="rId56" Type="http://schemas.openxmlformats.org/officeDocument/2006/relationships/image" Target="../media/image81.png"/><Relationship Id="rId77" Type="http://schemas.openxmlformats.org/officeDocument/2006/relationships/image" Target="../media/image102.png"/><Relationship Id="rId100" Type="http://schemas.openxmlformats.org/officeDocument/2006/relationships/image" Target="../media/image125.png"/><Relationship Id="rId105" Type="http://schemas.openxmlformats.org/officeDocument/2006/relationships/image" Target="../media/image130.png"/><Relationship Id="rId8" Type="http://schemas.openxmlformats.org/officeDocument/2006/relationships/image" Target="../media/image33.png"/><Relationship Id="rId51" Type="http://schemas.openxmlformats.org/officeDocument/2006/relationships/image" Target="../media/image76.png"/><Relationship Id="rId72" Type="http://schemas.openxmlformats.org/officeDocument/2006/relationships/image" Target="../media/image97.png"/><Relationship Id="rId93" Type="http://schemas.openxmlformats.org/officeDocument/2006/relationships/image" Target="../media/image118.png"/><Relationship Id="rId98" Type="http://schemas.openxmlformats.org/officeDocument/2006/relationships/image" Target="../media/image123.png"/><Relationship Id="rId121" Type="http://schemas.openxmlformats.org/officeDocument/2006/relationships/image" Target="../media/image145.png"/><Relationship Id="rId3" Type="http://schemas.openxmlformats.org/officeDocument/2006/relationships/notesSlide" Target="../notesSlides/notesSlide24.xml"/><Relationship Id="rId25" Type="http://schemas.openxmlformats.org/officeDocument/2006/relationships/image" Target="../media/image50.png"/><Relationship Id="rId46" Type="http://schemas.openxmlformats.org/officeDocument/2006/relationships/image" Target="../media/image71.png"/><Relationship Id="rId67" Type="http://schemas.openxmlformats.org/officeDocument/2006/relationships/image" Target="../media/image92.png"/><Relationship Id="rId116" Type="http://schemas.openxmlformats.org/officeDocument/2006/relationships/image" Target="../media/image141.png"/><Relationship Id="rId20" Type="http://schemas.openxmlformats.org/officeDocument/2006/relationships/image" Target="../media/image45.png"/><Relationship Id="rId41" Type="http://schemas.openxmlformats.org/officeDocument/2006/relationships/image" Target="../media/image66.png"/><Relationship Id="rId62" Type="http://schemas.openxmlformats.org/officeDocument/2006/relationships/image" Target="../media/image87.png"/><Relationship Id="rId83" Type="http://schemas.openxmlformats.org/officeDocument/2006/relationships/image" Target="../media/image108.png"/><Relationship Id="rId88" Type="http://schemas.openxmlformats.org/officeDocument/2006/relationships/image" Target="../media/image113.png"/><Relationship Id="rId111" Type="http://schemas.openxmlformats.org/officeDocument/2006/relationships/image" Target="../media/image136.png"/><Relationship Id="rId15" Type="http://schemas.openxmlformats.org/officeDocument/2006/relationships/image" Target="../media/image40.png"/><Relationship Id="rId36" Type="http://schemas.openxmlformats.org/officeDocument/2006/relationships/image" Target="../media/image61.png"/><Relationship Id="rId57" Type="http://schemas.openxmlformats.org/officeDocument/2006/relationships/image" Target="../media/image82.png"/><Relationship Id="rId106" Type="http://schemas.openxmlformats.org/officeDocument/2006/relationships/image" Target="../media/image131.png"/><Relationship Id="rId10" Type="http://schemas.openxmlformats.org/officeDocument/2006/relationships/image" Target="../media/image35.png"/><Relationship Id="rId31" Type="http://schemas.openxmlformats.org/officeDocument/2006/relationships/image" Target="../media/image56.png"/><Relationship Id="rId52" Type="http://schemas.openxmlformats.org/officeDocument/2006/relationships/image" Target="../media/image77.png"/><Relationship Id="rId73" Type="http://schemas.openxmlformats.org/officeDocument/2006/relationships/image" Target="../media/image98.png"/><Relationship Id="rId78" Type="http://schemas.openxmlformats.org/officeDocument/2006/relationships/image" Target="../media/image103.png"/><Relationship Id="rId94" Type="http://schemas.openxmlformats.org/officeDocument/2006/relationships/image" Target="../media/image119.png"/><Relationship Id="rId99" Type="http://schemas.openxmlformats.org/officeDocument/2006/relationships/image" Target="../media/image124.png"/><Relationship Id="rId101" Type="http://schemas.openxmlformats.org/officeDocument/2006/relationships/image" Target="../media/image126.png"/><Relationship Id="rId122" Type="http://schemas.openxmlformats.org/officeDocument/2006/relationships/image" Target="../media/image1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96D2A0-6A5F-4FDD-9DA9-44DAB856B3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508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68" imgH="670" progId="TCLayout.ActiveDocument.1">
                  <p:embed/>
                </p:oleObj>
              </mc:Choice>
              <mc:Fallback>
                <p:oleObj name="think-cell Slide" r:id="rId5" imgW="668" imgH="6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96D2A0-6A5F-4FDD-9DA9-44DAB856B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7C7179F-9234-4709-9B4E-BBA3DC657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dirty="0" err="1">
              <a:latin typeface="Montserrat SemiBold" panose="020B0604020202020204" charset="0"/>
              <a:cs typeface="Calibri" panose="020F0502020204030204" pitchFamily="34" charset="0"/>
              <a:sym typeface="Montserrat SemiBold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72DFD0-EE17-47CC-B412-A1140BFA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FB262C-26B3-43C9-942E-80D092E4F0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D9B380A-F4B7-4C33-89E3-79B31EEEC7EA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090738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A5EB66-037B-9D78-54DC-FB3FF6683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9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A5EB66-037B-9D78-54DC-FB3FF6683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896D03-5F31-B04A-48BC-2317BD5A1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788D32-2EB3-BE5D-447F-5B383312D5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AB4CBA-3FEF-CBA6-116F-BD7EAB398CA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B80C3-F116-2E6B-7E72-2BE885F878A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02897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A035453-ECB4-F67C-D169-898EFCE3FA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74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035453-ECB4-F67C-D169-898EFCE3F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9B8860-9B2C-F928-A84B-79980ECEF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F9EC3-2F3D-EEC2-323F-2C42DE38D10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E3D2BB-19CE-8FF3-6A07-735E93252ED7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424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25C41F-330D-32B3-7C48-C6D4314DF6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42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C41F-330D-32B3-7C48-C6D4314DF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590808-4A4F-9DE6-5811-A60E0FA76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331ED9-D128-4A7B-8E99-251DE7489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485BEB-4646-55F2-4C1B-EF3F6E4AF67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E79250-60BC-FB35-908E-B532CB044773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445882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0BBA3EA-78B2-7DBC-9C85-8C5A928684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238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BBA3EA-78B2-7DBC-9C85-8C5A928684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49001D-7B45-7068-DD3F-94AA62657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DEB9E6-AE15-8B2A-D703-EC39FE5283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FC57E6-0067-DEC9-0916-BD79553B7688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1DB5BF-C445-0390-0CCF-840FCC0DD91A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85361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2E4CEEE-09AE-8212-AF74-BE456F159D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045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E4CEEE-09AE-8212-AF74-BE456F159D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213F0C-E80D-8399-606F-4330D88D5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2608B8-DABB-E3C3-C234-0C79B83B08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D9BCE1-A353-F9C3-F4AA-49C934BE5594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691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307FC8-7EB7-68DA-273E-95BDA90745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64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07FC8-7EB7-68DA-273E-95BDA9074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46E629-E743-BA0F-5E14-2B788780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de Review Slide Titl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CD44CFF-377F-BDD8-86C3-D54CAE1AA3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B3315-09B0-E48D-57B5-475D4DDC3F4E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Image 2" descr="Image 2">
            <a:extLst>
              <a:ext uri="{FF2B5EF4-FFF2-40B4-BE49-F238E27FC236}">
                <a16:creationId xmlns:a16="http://schemas.microsoft.com/office/drawing/2014/main" id="{100A1D89-B204-FEA0-7956-EA8A525948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64" y="1496821"/>
            <a:ext cx="4837389" cy="1656197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74453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915021-D8A9-D863-B6A3-5955CAED22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173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38" imgH="540" progId="TCLayout.ActiveDocument.1">
                  <p:embed/>
                </p:oleObj>
              </mc:Choice>
              <mc:Fallback>
                <p:oleObj name="think-cell Slide" r:id="rId10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915021-D8A9-D863-B6A3-5955CAED2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2" name="Rectangle 2">
            <a:extLst>
              <a:ext uri="{FF2B5EF4-FFF2-40B4-BE49-F238E27FC236}">
                <a16:creationId xmlns:a16="http://schemas.microsoft.com/office/drawing/2014/main" id="{3915C265-DD53-6E89-4A7E-E86AF8E96D3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55D442D8-59B8-4A15-95F0-3B9CB4B445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A81AE17-4C89-DE56-C60A-DE0E1D24E0F2}"/>
              </a:ext>
            </a:extLst>
          </p:cNvPr>
          <p:cNvGrpSpPr/>
          <p:nvPr/>
        </p:nvGrpSpPr>
        <p:grpSpPr>
          <a:xfrm>
            <a:off x="498883" y="1058520"/>
            <a:ext cx="8225275" cy="3524627"/>
            <a:chOff x="1457838" y="841864"/>
            <a:chExt cx="6213746" cy="3524627"/>
          </a:xfrm>
        </p:grpSpPr>
        <p:sp>
          <p:nvSpPr>
            <p:cNvPr id="15363" name="AutoShape 4">
              <a:extLst>
                <a:ext uri="{FF2B5EF4-FFF2-40B4-BE49-F238E27FC236}">
                  <a16:creationId xmlns:a16="http://schemas.microsoft.com/office/drawing/2014/main" id="{F16D2004-E996-CA3D-A9AE-0A4DD013C48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054917" y="244785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hite space should be a critical part of page layout design</a:t>
              </a:r>
            </a:p>
          </p:txBody>
        </p:sp>
        <p:sp>
          <p:nvSpPr>
            <p:cNvPr id="15364" name="AutoShape 5">
              <a:extLst>
                <a:ext uri="{FF2B5EF4-FFF2-40B4-BE49-F238E27FC236}">
                  <a16:creationId xmlns:a16="http://schemas.microsoft.com/office/drawing/2014/main" id="{CA7EA208-7921-9C46-8453-6C36EA180FE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245217" y="244785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age leads should be in sentence case, not in all caps</a:t>
              </a:r>
            </a:p>
          </p:txBody>
        </p:sp>
        <p:sp>
          <p:nvSpPr>
            <p:cNvPr id="15365" name="AutoShape 6">
              <a:extLst>
                <a:ext uri="{FF2B5EF4-FFF2-40B4-BE49-F238E27FC236}">
                  <a16:creationId xmlns:a16="http://schemas.microsoft.com/office/drawing/2014/main" id="{F8AE9025-6833-3FA9-AF42-F082EF1F361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436731" y="244785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lor should be used to improve comprehension and aesthetics</a:t>
              </a:r>
            </a:p>
          </p:txBody>
        </p:sp>
        <p:sp>
          <p:nvSpPr>
            <p:cNvPr id="15366" name="AutoShape 7">
              <a:extLst>
                <a:ext uri="{FF2B5EF4-FFF2-40B4-BE49-F238E27FC236}">
                  <a16:creationId xmlns:a16="http://schemas.microsoft.com/office/drawing/2014/main" id="{10D4DCD3-0FFD-17DB-B61C-42807815E0E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054917" y="2246789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lining of text should be done very sparingly</a:t>
              </a:r>
            </a:p>
          </p:txBody>
        </p:sp>
        <p:sp>
          <p:nvSpPr>
            <p:cNvPr id="15367" name="AutoShape 8">
              <a:extLst>
                <a:ext uri="{FF2B5EF4-FFF2-40B4-BE49-F238E27FC236}">
                  <a16:creationId xmlns:a16="http://schemas.microsoft.com/office/drawing/2014/main" id="{4501D938-625A-9EA6-B92B-6E70A894AA7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246432" y="2246789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nt sizes should typically be 11 for body text</a:t>
              </a:r>
            </a:p>
          </p:txBody>
        </p:sp>
        <p:sp>
          <p:nvSpPr>
            <p:cNvPr id="15368" name="AutoShape 9">
              <a:extLst>
                <a:ext uri="{FF2B5EF4-FFF2-40B4-BE49-F238E27FC236}">
                  <a16:creationId xmlns:a16="http://schemas.microsoft.com/office/drawing/2014/main" id="{2D7D09A9-3440-DDF4-5930-560254F5001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436731" y="2246789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llow naming and numerical conventions throughout the deck</a:t>
              </a:r>
            </a:p>
          </p:txBody>
        </p:sp>
        <p:sp>
          <p:nvSpPr>
            <p:cNvPr id="15369" name="Rectangle 10">
              <a:extLst>
                <a:ext uri="{FF2B5EF4-FFF2-40B4-BE49-F238E27FC236}">
                  <a16:creationId xmlns:a16="http://schemas.microsoft.com/office/drawing/2014/main" id="{A725D9DD-530C-FFE9-7F0E-ED1F9DD79BD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457838" y="1599904"/>
              <a:ext cx="1831932" cy="553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 use of white space to structure content and make pages less intimidating has been shown to improve comprehension and legibility of print</a:t>
              </a:r>
            </a:p>
          </p:txBody>
        </p:sp>
        <p:sp>
          <p:nvSpPr>
            <p:cNvPr id="15370" name="Rectangle 11">
              <a:extLst>
                <a:ext uri="{FF2B5EF4-FFF2-40B4-BE49-F238E27FC236}">
                  <a16:creationId xmlns:a16="http://schemas.microsoft.com/office/drawing/2014/main" id="{56601B2D-988A-7B31-CFC1-45546C2CF63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457838" y="3597049"/>
              <a:ext cx="1831932" cy="630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lining reduces the legibility of text because text descenders are obscured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lining should be used sparingly and instead be replaced by boldface</a:t>
              </a:r>
            </a:p>
          </p:txBody>
        </p:sp>
        <p:sp>
          <p:nvSpPr>
            <p:cNvPr id="15371" name="Rectangle 12">
              <a:extLst>
                <a:ext uri="{FF2B5EF4-FFF2-40B4-BE49-F238E27FC236}">
                  <a16:creationId xmlns:a16="http://schemas.microsoft.com/office/drawing/2014/main" id="{D34411D0-6384-361C-7E80-621CF0D6A69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656642" y="1599904"/>
              <a:ext cx="1831932" cy="9079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LL CAPS WRITING has been proven to be less legible (almost half as legible) than sentence case writing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IBM Plex Sans" panose="020B0503050203000203" pitchFamily="34" charset="0"/>
                <a:buChar char="–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ll caps writing obscures letter ascenders and descenders which make writing more legible</a:t>
              </a:r>
            </a:p>
          </p:txBody>
        </p:sp>
        <p:sp>
          <p:nvSpPr>
            <p:cNvPr id="15372" name="Rectangle 13">
              <a:extLst>
                <a:ext uri="{FF2B5EF4-FFF2-40B4-BE49-F238E27FC236}">
                  <a16:creationId xmlns:a16="http://schemas.microsoft.com/office/drawing/2014/main" id="{6114988D-1ED1-2C62-C8F8-18D6564F63D5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656642" y="3597050"/>
              <a:ext cx="1831932" cy="769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tudies show that in print, fonts of point size 11 optimize legibility (any smaller or larger show a marked decrease in legibility)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 page layout, opt for more whitespace over larger fonts</a:t>
              </a:r>
            </a:p>
          </p:txBody>
        </p:sp>
        <p:sp>
          <p:nvSpPr>
            <p:cNvPr id="15373" name="Rectangle 14">
              <a:extLst>
                <a:ext uri="{FF2B5EF4-FFF2-40B4-BE49-F238E27FC236}">
                  <a16:creationId xmlns:a16="http://schemas.microsoft.com/office/drawing/2014/main" id="{048CD59E-F79B-75B6-76BD-8A5C0169B22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839652" y="1599904"/>
              <a:ext cx="1831932" cy="553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lor can improve readership by 40%, learning from 55% to 78%, and comprehension by 73% according to recent studies</a:t>
              </a:r>
            </a:p>
          </p:txBody>
        </p:sp>
        <p:sp>
          <p:nvSpPr>
            <p:cNvPr id="15374" name="Rectangle 15">
              <a:extLst>
                <a:ext uri="{FF2B5EF4-FFF2-40B4-BE49-F238E27FC236}">
                  <a16:creationId xmlns:a16="http://schemas.microsoft.com/office/drawing/2014/main" id="{39E25E5B-480A-ADA4-FD4F-F70BC641CCA5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839652" y="3597049"/>
              <a:ext cx="1831932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e the next slide for a number of points on consistency for numbers, punctuation, etc.</a:t>
              </a: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A66BA1A-2373-9E6B-8746-BC3A8860C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608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66BA1A-2373-9E6B-8746-BC3A8860C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0" name="Rectangle 2">
            <a:extLst>
              <a:ext uri="{FF2B5EF4-FFF2-40B4-BE49-F238E27FC236}">
                <a16:creationId xmlns:a16="http://schemas.microsoft.com/office/drawing/2014/main" id="{5CA4830C-FD54-41D3-C6B8-A911825BF6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079D0F-DB37-50F0-8CF1-22FC4A1C20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411" name="AutoShape 4">
            <a:extLst>
              <a:ext uri="{FF2B5EF4-FFF2-40B4-BE49-F238E27FC236}">
                <a16:creationId xmlns:a16="http://schemas.microsoft.com/office/drawing/2014/main" id="{B4F98947-D39B-4A34-4560-77EFDC5AA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1180957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erical conventions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CF1EBDE1-8953-E4C2-31B7-015290806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2135341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nctuation conventions</a:t>
            </a: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7FF4E35E-F9BB-3A67-CB01-0DFE57A1F6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3089725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its of measure</a:t>
            </a: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C889ECBF-30D7-EA81-A324-AA4D25090D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404410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s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3DC1A483-90BD-1BB9-54CB-2468D9258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1989147"/>
            <a:ext cx="5232400" cy="1000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llets should not end with periods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For example” should be written as “e.g., ”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In other words” should be written as “i.e., ”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as should be followed by one space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s should be followed by two spaces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8DC4952B-F5A8-408E-3651-FCB428CDF7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3162821"/>
            <a:ext cx="5232400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its of measure should be written as “Unit, scale” (e.g., USD, MM)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 graphs should have some unit of measure that explain the chart, the axes, and all relevant units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695161BF-D1E6-D1B7-4B8E-E467D2535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3995746"/>
            <a:ext cx="5232400" cy="1000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fferent entries with footnotes should be separated by semi-colons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s should use firm-standard tabs and tab-stops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s should not be marked using multiple stars (e.g., ****)</a:t>
            </a:r>
          </a:p>
          <a:p>
            <a:pPr lvl="2" eaLnBrk="1" hangingPunct="1">
              <a:spcBef>
                <a:spcPts val="600"/>
              </a:spcBef>
              <a:buClr>
                <a:schemeClr val="accent4"/>
              </a:buClr>
              <a:buFont typeface="Calibri" panose="020F0502020204030204" pitchFamily="34" charset="0"/>
              <a:buChar char="–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tead use a single star (*), double star (**), single dagger (†), or double dagger (‡) </a:t>
            </a:r>
          </a:p>
          <a:p>
            <a:pPr lvl="2" eaLnBrk="1" hangingPunct="1">
              <a:spcBef>
                <a:spcPts val="600"/>
              </a:spcBef>
              <a:buClr>
                <a:schemeClr val="accent4"/>
              </a:buClr>
              <a:buFont typeface="Calibri" panose="020F0502020204030204" pitchFamily="34" charset="0"/>
              <a:buChar char="–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 symbols should be in superscript (e.g., </a:t>
            </a:r>
            <a:r>
              <a:rPr lang="en-US" altLang="en-US" sz="900" baseline="300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†</a:t>
            </a: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51E65145-8687-71FA-ECDA-44137C52D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1147754"/>
            <a:ext cx="5232400" cy="56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ousands should be represented with an uppercase “K” as in 100K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llions should be represented with an uppercase “MM” as in 200MM</a:t>
            </a:r>
          </a:p>
          <a:p>
            <a:pPr lvl="1" eaLnBrk="1" hangingPunct="1">
              <a:spcBef>
                <a:spcPts val="6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900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llions should be represented with an uppercase “B” as in 300B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A66BA1A-2373-9E6B-8746-BC3A8860C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31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66BA1A-2373-9E6B-8746-BC3A8860C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0" name="Rectangle 2">
            <a:extLst>
              <a:ext uri="{FF2B5EF4-FFF2-40B4-BE49-F238E27FC236}">
                <a16:creationId xmlns:a16="http://schemas.microsoft.com/office/drawing/2014/main" id="{5CA4830C-FD54-41D3-C6B8-A911825BF6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079D0F-DB37-50F0-8CF1-22FC4A1C20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411" name="AutoShape 4">
            <a:extLst>
              <a:ext uri="{FF2B5EF4-FFF2-40B4-BE49-F238E27FC236}">
                <a16:creationId xmlns:a16="http://schemas.microsoft.com/office/drawing/2014/main" id="{B4F98947-D39B-4A34-4560-77EFDC5AA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1331593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CF1EBDE1-8953-E4C2-31B7-015290806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223531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7FF4E35E-F9BB-3A67-CB01-0DFE57A1F6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3139045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C889ECBF-30D7-EA81-A324-AA4D25090D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404410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 dirty="0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graphicFrame>
        <p:nvGraphicFramePr>
          <p:cNvPr id="10" name="Group 46">
            <a:extLst>
              <a:ext uri="{FF2B5EF4-FFF2-40B4-BE49-F238E27FC236}">
                <a16:creationId xmlns:a16="http://schemas.microsoft.com/office/drawing/2014/main" id="{0D66A7BC-DD6A-7345-1B37-AADAEBC28107}"/>
              </a:ext>
            </a:extLst>
          </p:cNvPr>
          <p:cNvGraphicFramePr>
            <a:graphicFrameLocks noGrp="1"/>
          </p:cNvGraphicFramePr>
          <p:nvPr/>
        </p:nvGraphicFramePr>
        <p:xfrm>
          <a:off x="1867937" y="1001592"/>
          <a:ext cx="6856221" cy="3857440"/>
        </p:xfrm>
        <a:graphic>
          <a:graphicData uri="http://schemas.openxmlformats.org/drawingml/2006/table">
            <a:tbl>
              <a:tblPr/>
              <a:tblGrid>
                <a:gridCol w="22854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54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54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83674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200B63-3CF0-89FC-F26B-25DEF75C4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059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200B63-3CF0-89FC-F26B-25DEF75C4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8" name="Rectangle 2">
            <a:extLst>
              <a:ext uri="{FF2B5EF4-FFF2-40B4-BE49-F238E27FC236}">
                <a16:creationId xmlns:a16="http://schemas.microsoft.com/office/drawing/2014/main" id="{1165DBAB-8E70-4636-EA92-E5F8D491537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30FB272F-A818-8138-0A46-4003ACA754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86478" name="Group 46">
            <a:extLst>
              <a:ext uri="{FF2B5EF4-FFF2-40B4-BE49-F238E27FC236}">
                <a16:creationId xmlns:a16="http://schemas.microsoft.com/office/drawing/2014/main" id="{A132212C-7458-166E-3B94-8E30B9B237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562656"/>
              </p:ext>
            </p:extLst>
          </p:nvPr>
        </p:nvGraphicFramePr>
        <p:xfrm>
          <a:off x="512349" y="1118079"/>
          <a:ext cx="8108631" cy="3496159"/>
        </p:xfrm>
        <a:graphic>
          <a:graphicData uri="http://schemas.openxmlformats.org/drawingml/2006/table">
            <a:tbl>
              <a:tblPr/>
              <a:tblGrid>
                <a:gridCol w="1165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4687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C61B8-C96A-2360-6AA3-38449F8F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4678C4-EDA3-7BCF-DDD4-0F2038395B5C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C62F9380-8B5B-8B9B-06BD-77B10C337F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5220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9F7916-C560-B002-A6D5-060B5C8933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64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9F7916-C560-B002-A6D5-060B5C893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hape 10">
            <a:extLst>
              <a:ext uri="{FF2B5EF4-FFF2-40B4-BE49-F238E27FC236}">
                <a16:creationId xmlns:a16="http://schemas.microsoft.com/office/drawing/2014/main" id="{E9F5F95A-6A1E-6ED1-BF13-86A373286770}"/>
              </a:ext>
            </a:extLst>
          </p:cNvPr>
          <p:cNvSpPr/>
          <p:nvPr/>
        </p:nvSpPr>
        <p:spPr>
          <a:xfrm>
            <a:off x="3445899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600" b="1" dirty="0">
                <a:solidFill>
                  <a:schemeClr val="bg1"/>
                </a:solidFill>
                <a:latin typeface="IBM Plex Sans" panose="020B0503050203000203" pitchFamily="34" charset="0"/>
              </a:rPr>
              <a:t>2</a:t>
            </a:r>
            <a:endParaRPr sz="16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2" name="Shape 10">
            <a:extLst>
              <a:ext uri="{FF2B5EF4-FFF2-40B4-BE49-F238E27FC236}">
                <a16:creationId xmlns:a16="http://schemas.microsoft.com/office/drawing/2014/main" id="{40106257-077D-107F-A21A-42E5460D1D3D}"/>
              </a:ext>
            </a:extLst>
          </p:cNvPr>
          <p:cNvSpPr/>
          <p:nvPr/>
        </p:nvSpPr>
        <p:spPr>
          <a:xfrm>
            <a:off x="5980343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2000" b="1" dirty="0">
                <a:solidFill>
                  <a:schemeClr val="bg1"/>
                </a:solidFill>
                <a:latin typeface="IBM Plex Sans" panose="020B0503050203000203" pitchFamily="34" charset="0"/>
              </a:rPr>
              <a:t>3</a:t>
            </a:r>
            <a:endParaRPr sz="16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D5F277-DBA3-FEAB-9BFD-8C66B2FF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03EABDD-8C1D-ABC2-6704-314F45297A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hape 10">
            <a:extLst>
              <a:ext uri="{FF2B5EF4-FFF2-40B4-BE49-F238E27FC236}">
                <a16:creationId xmlns:a16="http://schemas.microsoft.com/office/drawing/2014/main" id="{E51EAC7C-4F52-BC98-3E4B-3E4CD1C293F8}"/>
              </a:ext>
            </a:extLst>
          </p:cNvPr>
          <p:cNvSpPr/>
          <p:nvPr/>
        </p:nvSpPr>
        <p:spPr>
          <a:xfrm>
            <a:off x="911455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2000" b="1" dirty="0">
                <a:solidFill>
                  <a:schemeClr val="bg1"/>
                </a:solidFill>
                <a:latin typeface="IBM Plex Sans" panose="020B0503050203000203" pitchFamily="34" charset="0"/>
              </a:rPr>
              <a:t>1</a:t>
            </a:r>
            <a:endParaRPr sz="16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 3">
            <a:extLst>
              <a:ext uri="{FF2B5EF4-FFF2-40B4-BE49-F238E27FC236}">
                <a16:creationId xmlns:a16="http://schemas.microsoft.com/office/drawing/2014/main" id="{BC4D531B-5216-FB9E-52CD-DB1D58C661BC}"/>
              </a:ext>
            </a:extLst>
          </p:cNvPr>
          <p:cNvSpPr txBox="1"/>
          <p:nvPr/>
        </p:nvSpPr>
        <p:spPr>
          <a:xfrm>
            <a:off x="911455" y="2664675"/>
            <a:ext cx="236211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dirty="0">
                <a:latin typeface="IBM Plex Sans" panose="020B0503050203000203" pitchFamily="34" charset="0"/>
              </a:rPr>
              <a:t>Lorem ipsum </a:t>
            </a:r>
          </a:p>
        </p:txBody>
      </p:sp>
      <p:sp>
        <p:nvSpPr>
          <p:cNvPr id="12" name="Text 4">
            <a:extLst>
              <a:ext uri="{FF2B5EF4-FFF2-40B4-BE49-F238E27FC236}">
                <a16:creationId xmlns:a16="http://schemas.microsoft.com/office/drawing/2014/main" id="{AC391FD5-C35E-4B0D-D1D4-B49424D2FF3D}"/>
              </a:ext>
            </a:extLst>
          </p:cNvPr>
          <p:cNvSpPr txBox="1"/>
          <p:nvPr/>
        </p:nvSpPr>
        <p:spPr>
          <a:xfrm>
            <a:off x="911455" y="3185056"/>
            <a:ext cx="2362113" cy="646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050" dirty="0">
                <a:latin typeface="IBM Plex Sans" panose="020B0503050203000203" pitchFamily="34" charset="0"/>
              </a:rPr>
              <a:t>Lorem ipsum dolor sit </a:t>
            </a:r>
            <a:r>
              <a:rPr sz="1050" dirty="0" err="1">
                <a:latin typeface="IBM Plex Sans" panose="020B0503050203000203" pitchFamily="34" charset="0"/>
              </a:rPr>
              <a:t>amet</a:t>
            </a:r>
            <a:r>
              <a:rPr sz="1050" dirty="0">
                <a:latin typeface="IBM Plex Sans" panose="020B0503050203000203" pitchFamily="34" charset="0"/>
              </a:rPr>
              <a:t>, </a:t>
            </a:r>
            <a:r>
              <a:rPr sz="1050" dirty="0" err="1">
                <a:latin typeface="IBM Plex Sans" panose="020B0503050203000203" pitchFamily="34" charset="0"/>
              </a:rPr>
              <a:t>consectetur</a:t>
            </a:r>
            <a:r>
              <a:rPr sz="1050" dirty="0">
                <a:latin typeface="IBM Plex Sans" panose="020B0503050203000203" pitchFamily="34" charset="0"/>
              </a:rPr>
              <a:t> </a:t>
            </a:r>
            <a:r>
              <a:rPr sz="1050" dirty="0" err="1">
                <a:latin typeface="IBM Plex Sans" panose="020B0503050203000203" pitchFamily="34" charset="0"/>
              </a:rPr>
              <a:t>adipiscing</a:t>
            </a:r>
            <a:r>
              <a:rPr sz="1050" dirty="0">
                <a:latin typeface="IBM Plex Sans" panose="020B0503050203000203" pitchFamily="34" charset="0"/>
              </a:rPr>
              <a:t> </a:t>
            </a:r>
            <a:r>
              <a:rPr sz="1050" dirty="0" err="1">
                <a:latin typeface="IBM Plex Sans" panose="020B0503050203000203" pitchFamily="34" charset="0"/>
              </a:rPr>
              <a:t>elit</a:t>
            </a:r>
            <a:r>
              <a:rPr sz="1050" dirty="0">
                <a:latin typeface="IBM Plex Sans" panose="020B0503050203000203" pitchFamily="34" charset="0"/>
              </a:rPr>
              <a:t>, sed do </a:t>
            </a:r>
            <a:r>
              <a:rPr sz="1050" dirty="0" err="1">
                <a:latin typeface="IBM Plex Sans" panose="020B0503050203000203" pitchFamily="34" charset="0"/>
              </a:rPr>
              <a:t>eiusmod</a:t>
            </a:r>
            <a:r>
              <a:rPr sz="1050" dirty="0">
                <a:latin typeface="IBM Plex Sans" panose="020B0503050203000203" pitchFamily="34" charset="0"/>
              </a:rPr>
              <a:t> </a:t>
            </a:r>
            <a:r>
              <a:rPr sz="1050" dirty="0" err="1">
                <a:latin typeface="IBM Plex Sans" panose="020B0503050203000203" pitchFamily="34" charset="0"/>
              </a:rPr>
              <a:t>tempor</a:t>
            </a:r>
            <a:r>
              <a:rPr sz="1050" dirty="0">
                <a:latin typeface="IBM Plex Sans" panose="020B0503050203000203" pitchFamily="34" charset="0"/>
              </a:rPr>
              <a:t> </a:t>
            </a:r>
            <a:r>
              <a:rPr sz="1050" dirty="0" err="1">
                <a:latin typeface="IBM Plex Sans" panose="020B0503050203000203" pitchFamily="34" charset="0"/>
              </a:rPr>
              <a:t>incididunt</a:t>
            </a:r>
            <a:r>
              <a:rPr sz="1050" dirty="0">
                <a:latin typeface="IBM Plex Sans" panose="020B0503050203000203" pitchFamily="34" charset="0"/>
              </a:rPr>
              <a:t> </a:t>
            </a:r>
            <a:r>
              <a:rPr sz="1050" dirty="0" err="1">
                <a:latin typeface="IBM Plex Sans" panose="020B0503050203000203" pitchFamily="34" charset="0"/>
              </a:rPr>
              <a:t>ut</a:t>
            </a:r>
            <a:r>
              <a:rPr sz="1050" dirty="0">
                <a:latin typeface="IBM Plex Sans" panose="020B0503050203000203" pitchFamily="34" charset="0"/>
              </a:rPr>
              <a:t> labore et dolore magna </a:t>
            </a:r>
            <a:r>
              <a:rPr sz="1050" dirty="0" err="1">
                <a:latin typeface="IBM Plex Sans" panose="020B0503050203000203" pitchFamily="34" charset="0"/>
              </a:rPr>
              <a:t>aliqua</a:t>
            </a:r>
            <a:r>
              <a:rPr sz="1050" dirty="0">
                <a:latin typeface="IBM Plex Sans" panose="020B0503050203000203" pitchFamily="34" charset="0"/>
              </a:rPr>
              <a:t>. </a:t>
            </a:r>
          </a:p>
        </p:txBody>
      </p:sp>
      <p:sp>
        <p:nvSpPr>
          <p:cNvPr id="13" name="Text 5">
            <a:extLst>
              <a:ext uri="{FF2B5EF4-FFF2-40B4-BE49-F238E27FC236}">
                <a16:creationId xmlns:a16="http://schemas.microsoft.com/office/drawing/2014/main" id="{C93227A4-95F9-37A1-7138-2E67AE04817F}"/>
              </a:ext>
            </a:extLst>
          </p:cNvPr>
          <p:cNvSpPr txBox="1"/>
          <p:nvPr/>
        </p:nvSpPr>
        <p:spPr>
          <a:xfrm>
            <a:off x="3473473" y="2675014"/>
            <a:ext cx="236211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>
                <a:latin typeface="IBM Plex Sans" panose="020B0503050203000203" pitchFamily="34" charset="0"/>
              </a:rPr>
              <a:t>Dolor sit amet</a:t>
            </a:r>
          </a:p>
        </p:txBody>
      </p:sp>
      <p:sp>
        <p:nvSpPr>
          <p:cNvPr id="14" name="Text 6">
            <a:extLst>
              <a:ext uri="{FF2B5EF4-FFF2-40B4-BE49-F238E27FC236}">
                <a16:creationId xmlns:a16="http://schemas.microsoft.com/office/drawing/2014/main" id="{A169B10E-7719-A00C-8B31-414B80456009}"/>
              </a:ext>
            </a:extLst>
          </p:cNvPr>
          <p:cNvSpPr txBox="1"/>
          <p:nvPr/>
        </p:nvSpPr>
        <p:spPr>
          <a:xfrm>
            <a:off x="3473473" y="3185056"/>
            <a:ext cx="2362113" cy="646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050">
                <a:latin typeface="IBM Plex Sans" panose="020B050305020300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15" name="Text 7">
            <a:extLst>
              <a:ext uri="{FF2B5EF4-FFF2-40B4-BE49-F238E27FC236}">
                <a16:creationId xmlns:a16="http://schemas.microsoft.com/office/drawing/2014/main" id="{19E8E92B-91E6-7AAC-0CE5-3DEF2B172044}"/>
              </a:ext>
            </a:extLst>
          </p:cNvPr>
          <p:cNvSpPr txBox="1"/>
          <p:nvPr/>
        </p:nvSpPr>
        <p:spPr>
          <a:xfrm>
            <a:off x="6035494" y="2675014"/>
            <a:ext cx="2439989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>
                <a:latin typeface="IBM Plex Sans" panose="020B0503050203000203" pitchFamily="34" charset="0"/>
              </a:rPr>
              <a:t>Dolor sit amet</a:t>
            </a:r>
          </a:p>
        </p:txBody>
      </p:sp>
      <p:sp>
        <p:nvSpPr>
          <p:cNvPr id="16" name="Text 8">
            <a:extLst>
              <a:ext uri="{FF2B5EF4-FFF2-40B4-BE49-F238E27FC236}">
                <a16:creationId xmlns:a16="http://schemas.microsoft.com/office/drawing/2014/main" id="{DFAC1A1F-5F09-B2D9-758E-9B8F879D7E3A}"/>
              </a:ext>
            </a:extLst>
          </p:cNvPr>
          <p:cNvSpPr txBox="1"/>
          <p:nvPr/>
        </p:nvSpPr>
        <p:spPr>
          <a:xfrm>
            <a:off x="6035494" y="3185056"/>
            <a:ext cx="2362113" cy="646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050">
                <a:latin typeface="IBM Plex Sans" panose="020B050305020300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</p:spTree>
    <p:extLst>
      <p:ext uri="{BB962C8B-B14F-4D97-AF65-F5344CB8AC3E}">
        <p14:creationId xmlns:p14="http://schemas.microsoft.com/office/powerpoint/2010/main" val="20226150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F7C81F-7D52-674F-8C37-9F65AEEC9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624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F7C81F-7D52-674F-8C37-9F65AEEC9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1">
            <a:extLst>
              <a:ext uri="{FF2B5EF4-FFF2-40B4-BE49-F238E27FC236}">
                <a16:creationId xmlns:a16="http://schemas.microsoft.com/office/drawing/2014/main" id="{7D67D202-D500-5527-599F-D2F0222F1F8A}"/>
              </a:ext>
            </a:extLst>
          </p:cNvPr>
          <p:cNvSpPr/>
          <p:nvPr/>
        </p:nvSpPr>
        <p:spPr>
          <a:xfrm>
            <a:off x="420564" y="1126094"/>
            <a:ext cx="4029851" cy="3457525"/>
          </a:xfrm>
          <a:prstGeom prst="roundRect">
            <a:avLst>
              <a:gd name="adj" fmla="val 969"/>
            </a:avLst>
          </a:prstGeom>
          <a:solidFill>
            <a:srgbClr val="F0EEFF"/>
          </a:solidFill>
          <a:ln w="3175">
            <a:miter lim="400000"/>
          </a:ln>
        </p:spPr>
        <p:txBody>
          <a:bodyPr lIns="45719" rIns="45719"/>
          <a:lstStyle/>
          <a:p>
            <a:pPr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dirty="0">
              <a:latin typeface="IBM Plex Sans" panose="020B050305020300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62FE1C2-23A3-4484-E532-F865682E71D7}"/>
              </a:ext>
            </a:extLst>
          </p:cNvPr>
          <p:cNvGrpSpPr/>
          <p:nvPr/>
        </p:nvGrpSpPr>
        <p:grpSpPr>
          <a:xfrm>
            <a:off x="4541851" y="1126094"/>
            <a:ext cx="4098012" cy="3457525"/>
            <a:chOff x="4541851" y="1126094"/>
            <a:chExt cx="4098012" cy="3457525"/>
          </a:xfrm>
        </p:grpSpPr>
        <p:sp>
          <p:nvSpPr>
            <p:cNvPr id="9" name="Shape 2">
              <a:extLst>
                <a:ext uri="{FF2B5EF4-FFF2-40B4-BE49-F238E27FC236}">
                  <a16:creationId xmlns:a16="http://schemas.microsoft.com/office/drawing/2014/main" id="{C0DB7291-21EF-B36B-6801-7AB4DF70AD68}"/>
                </a:ext>
              </a:extLst>
            </p:cNvPr>
            <p:cNvSpPr/>
            <p:nvPr/>
          </p:nvSpPr>
          <p:spPr>
            <a:xfrm>
              <a:off x="4610012" y="1126094"/>
              <a:ext cx="4029851" cy="3457525"/>
            </a:xfrm>
            <a:prstGeom prst="roundRect">
              <a:avLst>
                <a:gd name="adj" fmla="val 969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pic>
          <p:nvPicPr>
            <p:cNvPr id="11" name="Image 0" descr="Image 0">
              <a:extLst>
                <a:ext uri="{FF2B5EF4-FFF2-40B4-BE49-F238E27FC236}">
                  <a16:creationId xmlns:a16="http://schemas.microsoft.com/office/drawing/2014/main" id="{E81C2E79-3FBF-97AC-215C-5757344C7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41851" y="2739177"/>
              <a:ext cx="202023" cy="224711"/>
            </a:xfrm>
            <a:prstGeom prst="rect">
              <a:avLst/>
            </a:prstGeom>
            <a:ln w="3175">
              <a:miter lim="400000"/>
            </a:ln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A5FF356-4E86-42E4-88EB-DCB16559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75E66E4-A6D2-4D6D-870D-B6C35F7ACF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E106F6-8B48-9556-5BF3-BC42C7127164}"/>
              </a:ext>
            </a:extLst>
          </p:cNvPr>
          <p:cNvSpPr txBox="1"/>
          <p:nvPr/>
        </p:nvSpPr>
        <p:spPr>
          <a:xfrm>
            <a:off x="787972" y="1378950"/>
            <a:ext cx="328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DFCBA6-094D-C09D-08F2-95669DAD3A8D}"/>
              </a:ext>
            </a:extLst>
          </p:cNvPr>
          <p:cNvSpPr txBox="1"/>
          <p:nvPr/>
        </p:nvSpPr>
        <p:spPr>
          <a:xfrm>
            <a:off x="5039491" y="1378950"/>
            <a:ext cx="328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9F0DFD4-C01D-36A0-B3FB-AF8D9212121F}"/>
              </a:ext>
            </a:extLst>
          </p:cNvPr>
          <p:cNvSpPr txBox="1"/>
          <p:nvPr/>
        </p:nvSpPr>
        <p:spPr>
          <a:xfrm>
            <a:off x="787972" y="2005211"/>
            <a:ext cx="328419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0964FD-5D15-C4D1-E744-8984F7C98D1E}"/>
              </a:ext>
            </a:extLst>
          </p:cNvPr>
          <p:cNvSpPr txBox="1"/>
          <p:nvPr/>
        </p:nvSpPr>
        <p:spPr>
          <a:xfrm>
            <a:off x="5071833" y="2005211"/>
            <a:ext cx="328419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27743993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F7C81F-7D52-674F-8C37-9F65AEEC9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28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F7C81F-7D52-674F-8C37-9F65AEEC9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289F3A03-F785-B40D-64B0-F25E9E85ACDC}"/>
              </a:ext>
            </a:extLst>
          </p:cNvPr>
          <p:cNvGrpSpPr/>
          <p:nvPr/>
        </p:nvGrpSpPr>
        <p:grpSpPr>
          <a:xfrm>
            <a:off x="261850" y="1126094"/>
            <a:ext cx="8554816" cy="3457525"/>
            <a:chOff x="420564" y="1126094"/>
            <a:chExt cx="12401500" cy="3457525"/>
          </a:xfrm>
        </p:grpSpPr>
        <p:sp>
          <p:nvSpPr>
            <p:cNvPr id="8" name="Shape 1">
              <a:extLst>
                <a:ext uri="{FF2B5EF4-FFF2-40B4-BE49-F238E27FC236}">
                  <a16:creationId xmlns:a16="http://schemas.microsoft.com/office/drawing/2014/main" id="{7D67D202-D500-5527-599F-D2F0222F1F8A}"/>
                </a:ext>
              </a:extLst>
            </p:cNvPr>
            <p:cNvSpPr/>
            <p:nvPr/>
          </p:nvSpPr>
          <p:spPr>
            <a:xfrm>
              <a:off x="420564" y="1126094"/>
              <a:ext cx="4029851" cy="3457525"/>
            </a:xfrm>
            <a:prstGeom prst="roundRect">
              <a:avLst>
                <a:gd name="adj" fmla="val 969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IBM Plex Sans" panose="020B0503050203000203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62FE1C2-23A3-4484-E532-F865682E71D7}"/>
                </a:ext>
              </a:extLst>
            </p:cNvPr>
            <p:cNvGrpSpPr/>
            <p:nvPr/>
          </p:nvGrpSpPr>
          <p:grpSpPr>
            <a:xfrm>
              <a:off x="4541851" y="1126094"/>
              <a:ext cx="4098012" cy="3457525"/>
              <a:chOff x="4541851" y="1126094"/>
              <a:chExt cx="4098012" cy="3457525"/>
            </a:xfrm>
          </p:grpSpPr>
          <p:sp>
            <p:nvSpPr>
              <p:cNvPr id="9" name="Shape 2">
                <a:extLst>
                  <a:ext uri="{FF2B5EF4-FFF2-40B4-BE49-F238E27FC236}">
                    <a16:creationId xmlns:a16="http://schemas.microsoft.com/office/drawing/2014/main" id="{C0DB7291-21EF-B36B-6801-7AB4DF70AD68}"/>
                  </a:ext>
                </a:extLst>
              </p:cNvPr>
              <p:cNvSpPr/>
              <p:nvPr/>
            </p:nvSpPr>
            <p:spPr>
              <a:xfrm>
                <a:off x="4610012" y="1126094"/>
                <a:ext cx="4029851" cy="3457525"/>
              </a:xfrm>
              <a:prstGeom prst="roundRect">
                <a:avLst>
                  <a:gd name="adj" fmla="val 969"/>
                </a:avLst>
              </a:prstGeom>
              <a:solidFill>
                <a:srgbClr val="F0EEFF"/>
              </a:solidFill>
              <a:ln w="3175">
                <a:miter lim="400000"/>
              </a:ln>
            </p:spPr>
            <p:txBody>
              <a:bodyPr lIns="45719" rIns="45719"/>
              <a:lstStyle/>
              <a:p>
                <a:pPr>
                  <a:defRPr sz="1800" spc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1" name="Image 0" descr="Image 0">
                <a:extLst>
                  <a:ext uri="{FF2B5EF4-FFF2-40B4-BE49-F238E27FC236}">
                    <a16:creationId xmlns:a16="http://schemas.microsoft.com/office/drawing/2014/main" id="{E81C2E79-3FBF-97AC-215C-5757344C79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41851" y="2739177"/>
                <a:ext cx="202023" cy="224711"/>
              </a:xfrm>
              <a:prstGeom prst="rect">
                <a:avLst/>
              </a:prstGeom>
              <a:ln w="3175">
                <a:miter lim="400000"/>
              </a:ln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C785711-406B-1F94-625B-5204B6D0BA4F}"/>
                </a:ext>
              </a:extLst>
            </p:cNvPr>
            <p:cNvGrpSpPr/>
            <p:nvPr/>
          </p:nvGrpSpPr>
          <p:grpSpPr>
            <a:xfrm>
              <a:off x="8724052" y="1126094"/>
              <a:ext cx="4098012" cy="3457525"/>
              <a:chOff x="4541851" y="1126094"/>
              <a:chExt cx="4098012" cy="3457525"/>
            </a:xfrm>
          </p:grpSpPr>
          <p:sp>
            <p:nvSpPr>
              <p:cNvPr id="5" name="Shape 2">
                <a:extLst>
                  <a:ext uri="{FF2B5EF4-FFF2-40B4-BE49-F238E27FC236}">
                    <a16:creationId xmlns:a16="http://schemas.microsoft.com/office/drawing/2014/main" id="{2233D2D2-5839-E1A9-09B8-7E1AFD0B0A5D}"/>
                  </a:ext>
                </a:extLst>
              </p:cNvPr>
              <p:cNvSpPr/>
              <p:nvPr/>
            </p:nvSpPr>
            <p:spPr>
              <a:xfrm>
                <a:off x="4610012" y="1126094"/>
                <a:ext cx="4029851" cy="3457525"/>
              </a:xfrm>
              <a:prstGeom prst="roundRect">
                <a:avLst>
                  <a:gd name="adj" fmla="val 969"/>
                </a:avLst>
              </a:prstGeom>
              <a:solidFill>
                <a:srgbClr val="F0EEFF"/>
              </a:solidFill>
              <a:ln w="3175">
                <a:miter lim="400000"/>
              </a:ln>
            </p:spPr>
            <p:txBody>
              <a:bodyPr lIns="45719" rIns="45719"/>
              <a:lstStyle/>
              <a:p>
                <a:pPr>
                  <a:defRPr sz="1800" spc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>
                  <a:latin typeface="IBM Plex Sans" panose="020B0503050203000203" pitchFamily="34" charset="0"/>
                </a:endParaRPr>
              </a:p>
            </p:txBody>
          </p:sp>
          <p:pic>
            <p:nvPicPr>
              <p:cNvPr id="6" name="Image 0" descr="Image 0">
                <a:extLst>
                  <a:ext uri="{FF2B5EF4-FFF2-40B4-BE49-F238E27FC236}">
                    <a16:creationId xmlns:a16="http://schemas.microsoft.com/office/drawing/2014/main" id="{9A056E0C-B75B-2004-F650-302DFBCA2A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41851" y="2739177"/>
                <a:ext cx="202023" cy="224711"/>
              </a:xfrm>
              <a:prstGeom prst="rect">
                <a:avLst/>
              </a:prstGeom>
              <a:ln w="3175">
                <a:miter lim="400000"/>
              </a:ln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A5FF356-4E86-42E4-88EB-DCB16559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75E66E4-A6D2-4D6D-870D-B6C35F7ACF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E106F6-8B48-9556-5BF3-BC42C7127164}"/>
              </a:ext>
            </a:extLst>
          </p:cNvPr>
          <p:cNvSpPr txBox="1"/>
          <p:nvPr/>
        </p:nvSpPr>
        <p:spPr>
          <a:xfrm>
            <a:off x="446406" y="1378950"/>
            <a:ext cx="245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9F0DFD4-C01D-36A0-B3FB-AF8D9212121F}"/>
              </a:ext>
            </a:extLst>
          </p:cNvPr>
          <p:cNvSpPr txBox="1"/>
          <p:nvPr/>
        </p:nvSpPr>
        <p:spPr>
          <a:xfrm>
            <a:off x="446406" y="2005211"/>
            <a:ext cx="24569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B2060-E7D8-5691-0457-E58F9BD71228}"/>
              </a:ext>
            </a:extLst>
          </p:cNvPr>
          <p:cNvSpPr txBox="1"/>
          <p:nvPr/>
        </p:nvSpPr>
        <p:spPr>
          <a:xfrm>
            <a:off x="3307019" y="1378950"/>
            <a:ext cx="245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C9EC3E-FB22-7395-7FD5-BA360634DBFB}"/>
              </a:ext>
            </a:extLst>
          </p:cNvPr>
          <p:cNvSpPr txBox="1"/>
          <p:nvPr/>
        </p:nvSpPr>
        <p:spPr>
          <a:xfrm>
            <a:off x="3307019" y="2005211"/>
            <a:ext cx="24569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8CF83D7-8823-3CDE-965A-92E2A4419A96}"/>
              </a:ext>
            </a:extLst>
          </p:cNvPr>
          <p:cNvSpPr txBox="1"/>
          <p:nvPr/>
        </p:nvSpPr>
        <p:spPr>
          <a:xfrm>
            <a:off x="6212227" y="1378950"/>
            <a:ext cx="245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7C9EF0C-0A6B-4357-C889-3D8EBF135893}"/>
              </a:ext>
            </a:extLst>
          </p:cNvPr>
          <p:cNvSpPr txBox="1"/>
          <p:nvPr/>
        </p:nvSpPr>
        <p:spPr>
          <a:xfrm>
            <a:off x="6212227" y="2005211"/>
            <a:ext cx="24569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42368258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28328BA-6127-12EB-7ACB-A42D7F2FAE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8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8328BA-6127-12EB-7ACB-A42D7F2FA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E22908-E5A4-64BB-DABD-A9039C867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5CC623-18B3-706A-68DB-DFC7A36862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4068313-C542-3608-251B-F73B9BF2E729}"/>
              </a:ext>
            </a:extLst>
          </p:cNvPr>
          <p:cNvGrpSpPr/>
          <p:nvPr/>
        </p:nvGrpSpPr>
        <p:grpSpPr>
          <a:xfrm>
            <a:off x="261850" y="1153536"/>
            <a:ext cx="8514626" cy="3487044"/>
            <a:chOff x="279435" y="1524000"/>
            <a:chExt cx="15699162" cy="6604000"/>
          </a:xfrm>
        </p:grpSpPr>
        <p:sp>
          <p:nvSpPr>
            <p:cNvPr id="5" name="Shape 2">
              <a:extLst>
                <a:ext uri="{FF2B5EF4-FFF2-40B4-BE49-F238E27FC236}">
                  <a16:creationId xmlns:a16="http://schemas.microsoft.com/office/drawing/2014/main" id="{ACBCCDA1-1358-971C-C17E-20094D44DD50}"/>
                </a:ext>
              </a:extLst>
            </p:cNvPr>
            <p:cNvSpPr/>
            <p:nvPr/>
          </p:nvSpPr>
          <p:spPr>
            <a:xfrm>
              <a:off x="279435" y="15240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>
                <a:latin typeface="IBM Plex Sans" panose="020B0503050203000203" pitchFamily="34" charset="0"/>
              </a:endParaRPr>
            </a:p>
          </p:txBody>
        </p:sp>
        <p:sp>
          <p:nvSpPr>
            <p:cNvPr id="6" name="Shape 3">
              <a:extLst>
                <a:ext uri="{FF2B5EF4-FFF2-40B4-BE49-F238E27FC236}">
                  <a16:creationId xmlns:a16="http://schemas.microsoft.com/office/drawing/2014/main" id="{592D7319-4D03-42D3-7724-F91BFBCF5F11}"/>
                </a:ext>
              </a:extLst>
            </p:cNvPr>
            <p:cNvSpPr/>
            <p:nvPr/>
          </p:nvSpPr>
          <p:spPr>
            <a:xfrm>
              <a:off x="8230628" y="15240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sp>
          <p:nvSpPr>
            <p:cNvPr id="7" name="Shape 5">
              <a:extLst>
                <a:ext uri="{FF2B5EF4-FFF2-40B4-BE49-F238E27FC236}">
                  <a16:creationId xmlns:a16="http://schemas.microsoft.com/office/drawing/2014/main" id="{CB1D20E8-69C6-F314-0176-0E3C9C283ED5}"/>
                </a:ext>
              </a:extLst>
            </p:cNvPr>
            <p:cNvSpPr/>
            <p:nvPr/>
          </p:nvSpPr>
          <p:spPr>
            <a:xfrm>
              <a:off x="279435" y="49276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sp>
          <p:nvSpPr>
            <p:cNvPr id="8" name="Shape 6">
              <a:extLst>
                <a:ext uri="{FF2B5EF4-FFF2-40B4-BE49-F238E27FC236}">
                  <a16:creationId xmlns:a16="http://schemas.microsoft.com/office/drawing/2014/main" id="{6CE22295-6DEE-C92F-0959-FF98A20ACAA0}"/>
                </a:ext>
              </a:extLst>
            </p:cNvPr>
            <p:cNvSpPr/>
            <p:nvPr/>
          </p:nvSpPr>
          <p:spPr>
            <a:xfrm>
              <a:off x="8230628" y="49276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9155524-7992-0DD3-3F85-511C5F3C2A1B}"/>
              </a:ext>
            </a:extLst>
          </p:cNvPr>
          <p:cNvSpPr txBox="1"/>
          <p:nvPr/>
        </p:nvSpPr>
        <p:spPr>
          <a:xfrm>
            <a:off x="458671" y="1258402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537F5E-601F-6FC5-452F-9EE688B57346}"/>
              </a:ext>
            </a:extLst>
          </p:cNvPr>
          <p:cNvSpPr txBox="1"/>
          <p:nvPr/>
        </p:nvSpPr>
        <p:spPr>
          <a:xfrm>
            <a:off x="458671" y="1658512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CD99DB-1ECC-55A4-545C-4CBD68D5DA3D}"/>
              </a:ext>
            </a:extLst>
          </p:cNvPr>
          <p:cNvSpPr txBox="1"/>
          <p:nvPr/>
        </p:nvSpPr>
        <p:spPr>
          <a:xfrm>
            <a:off x="4771934" y="1258402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00BB9B-6B2E-CCC6-50BC-17E504A85C94}"/>
              </a:ext>
            </a:extLst>
          </p:cNvPr>
          <p:cNvSpPr txBox="1"/>
          <p:nvPr/>
        </p:nvSpPr>
        <p:spPr>
          <a:xfrm>
            <a:off x="4771934" y="1658512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C0518A-9F89-3092-0C55-25DC8EDBE4E5}"/>
              </a:ext>
            </a:extLst>
          </p:cNvPr>
          <p:cNvSpPr txBox="1"/>
          <p:nvPr/>
        </p:nvSpPr>
        <p:spPr>
          <a:xfrm>
            <a:off x="458671" y="3051245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E68A0D-6171-5EEB-155F-526E003B3C6E}"/>
              </a:ext>
            </a:extLst>
          </p:cNvPr>
          <p:cNvSpPr txBox="1"/>
          <p:nvPr/>
        </p:nvSpPr>
        <p:spPr>
          <a:xfrm>
            <a:off x="458671" y="3451355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17B2A3-E3F7-C3EB-2886-D72A72148F82}"/>
              </a:ext>
            </a:extLst>
          </p:cNvPr>
          <p:cNvSpPr txBox="1"/>
          <p:nvPr/>
        </p:nvSpPr>
        <p:spPr>
          <a:xfrm>
            <a:off x="4771934" y="3051245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330080-D969-E418-F98D-80139AF8E956}"/>
              </a:ext>
            </a:extLst>
          </p:cNvPr>
          <p:cNvSpPr txBox="1"/>
          <p:nvPr/>
        </p:nvSpPr>
        <p:spPr>
          <a:xfrm>
            <a:off x="4771934" y="3451355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15332279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29A128-FAD0-D63A-BCDE-9FE18F778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7403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29A128-FAD0-D63A-BCDE-9FE18F778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B9A467-FB08-BBCA-3E31-FD9F3282C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AF4D63C-5E1F-088F-6B2F-254096AE5F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03C6FEDE-C498-A99D-4D3E-2299941D625A}"/>
              </a:ext>
            </a:extLst>
          </p:cNvPr>
          <p:cNvSpPr txBox="1"/>
          <p:nvPr/>
        </p:nvSpPr>
        <p:spPr>
          <a:xfrm>
            <a:off x="884998" y="1328967"/>
            <a:ext cx="215194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 dirty="0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1D4D7AC9-FE07-C8FA-AA69-0A3578B6542D}"/>
              </a:ext>
            </a:extLst>
          </p:cNvPr>
          <p:cNvSpPr txBox="1"/>
          <p:nvPr/>
        </p:nvSpPr>
        <p:spPr>
          <a:xfrm>
            <a:off x="884997" y="1737351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 dirty="0">
                <a:latin typeface="IBM Plex Sans" panose="020B0503050203000203" pitchFamily="34" charset="0"/>
              </a:rPr>
              <a:t>Lorem ipsum dolor sit </a:t>
            </a:r>
            <a:r>
              <a:rPr sz="1200" dirty="0" err="1">
                <a:latin typeface="IBM Plex Sans" panose="020B0503050203000203" pitchFamily="34" charset="0"/>
              </a:rPr>
              <a:t>amet</a:t>
            </a:r>
            <a:r>
              <a:rPr sz="1200" dirty="0">
                <a:latin typeface="IBM Plex Sans" panose="020B0503050203000203" pitchFamily="34" charset="0"/>
              </a:rPr>
              <a:t>, </a:t>
            </a:r>
            <a:r>
              <a:rPr sz="1200" dirty="0" err="1">
                <a:latin typeface="IBM Plex Sans" panose="020B0503050203000203" pitchFamily="34" charset="0"/>
              </a:rPr>
              <a:t>consectetur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adipiscing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elit</a:t>
            </a:r>
            <a:endParaRPr lang="en-US" sz="1200" dirty="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IBM Plex Sans" panose="020B0503050203000203" pitchFamily="34" charset="0"/>
              </a:rPr>
              <a:t>Sed do </a:t>
            </a:r>
            <a:r>
              <a:rPr lang="en-US" sz="1200" dirty="0" err="1">
                <a:latin typeface="IBM Plex Sans" panose="020B0503050203000203" pitchFamily="34" charset="0"/>
              </a:rPr>
              <a:t>eiusmod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tempor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incididunt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ut</a:t>
            </a:r>
            <a:r>
              <a:rPr lang="en-US" sz="1200" dirty="0">
                <a:latin typeface="IBM Plex Sans" panose="020B0503050203000203" pitchFamily="34" charset="0"/>
              </a:rPr>
              <a:t> labore et dolore</a:t>
            </a:r>
            <a:endParaRPr sz="1200" dirty="0">
              <a:latin typeface="IBM Plex Sans" panose="020B0503050203000203" pitchFamily="34" charset="0"/>
            </a:endParaRPr>
          </a:p>
        </p:txBody>
      </p:sp>
      <p:sp>
        <p:nvSpPr>
          <p:cNvPr id="7" name="Text 9">
            <a:extLst>
              <a:ext uri="{FF2B5EF4-FFF2-40B4-BE49-F238E27FC236}">
                <a16:creationId xmlns:a16="http://schemas.microsoft.com/office/drawing/2014/main" id="{C651DF9E-BD60-1BF3-E1C7-B32248ABD418}"/>
              </a:ext>
            </a:extLst>
          </p:cNvPr>
          <p:cNvSpPr txBox="1"/>
          <p:nvPr/>
        </p:nvSpPr>
        <p:spPr>
          <a:xfrm>
            <a:off x="3801670" y="132896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 dirty="0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9" name="Text 13">
            <a:extLst>
              <a:ext uri="{FF2B5EF4-FFF2-40B4-BE49-F238E27FC236}">
                <a16:creationId xmlns:a16="http://schemas.microsoft.com/office/drawing/2014/main" id="{ED98F5C8-D940-8FC6-2273-10C8629DFA1D}"/>
              </a:ext>
            </a:extLst>
          </p:cNvPr>
          <p:cNvSpPr txBox="1"/>
          <p:nvPr/>
        </p:nvSpPr>
        <p:spPr>
          <a:xfrm>
            <a:off x="6718340" y="132896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11" name="Text 18">
            <a:extLst>
              <a:ext uri="{FF2B5EF4-FFF2-40B4-BE49-F238E27FC236}">
                <a16:creationId xmlns:a16="http://schemas.microsoft.com/office/drawing/2014/main" id="{D71D75C4-C65F-F91E-1C9F-176CB150B467}"/>
              </a:ext>
            </a:extLst>
          </p:cNvPr>
          <p:cNvSpPr txBox="1"/>
          <p:nvPr/>
        </p:nvSpPr>
        <p:spPr>
          <a:xfrm>
            <a:off x="884998" y="2960277"/>
            <a:ext cx="215194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 dirty="0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13" name="Text 22">
            <a:extLst>
              <a:ext uri="{FF2B5EF4-FFF2-40B4-BE49-F238E27FC236}">
                <a16:creationId xmlns:a16="http://schemas.microsoft.com/office/drawing/2014/main" id="{EF38499A-D7CD-76A7-6861-A464893247F4}"/>
              </a:ext>
            </a:extLst>
          </p:cNvPr>
          <p:cNvSpPr txBox="1"/>
          <p:nvPr/>
        </p:nvSpPr>
        <p:spPr>
          <a:xfrm>
            <a:off x="3801670" y="296027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15" name="Text 26">
            <a:extLst>
              <a:ext uri="{FF2B5EF4-FFF2-40B4-BE49-F238E27FC236}">
                <a16:creationId xmlns:a16="http://schemas.microsoft.com/office/drawing/2014/main" id="{48EBABD9-9A1C-07E1-2CA6-8B110431A5C7}"/>
              </a:ext>
            </a:extLst>
          </p:cNvPr>
          <p:cNvSpPr txBox="1"/>
          <p:nvPr/>
        </p:nvSpPr>
        <p:spPr>
          <a:xfrm>
            <a:off x="6718340" y="296027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pic>
        <p:nvPicPr>
          <p:cNvPr id="24" name="Frame 39668.png" descr="Frame 39668.png">
            <a:extLst>
              <a:ext uri="{FF2B5EF4-FFF2-40B4-BE49-F238E27FC236}">
                <a16:creationId xmlns:a16="http://schemas.microsoft.com/office/drawing/2014/main" id="{3DBA055B-7A0A-B6BF-9FBD-6E19B29075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584" y="1260168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5" name="Frame 39668.png" descr="Frame 39668.png">
            <a:extLst>
              <a:ext uri="{FF2B5EF4-FFF2-40B4-BE49-F238E27FC236}">
                <a16:creationId xmlns:a16="http://schemas.microsoft.com/office/drawing/2014/main" id="{9898903A-2279-8CBF-A5C0-093FD5A5D1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81255" y="1260168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6" name="Frame 39668.png" descr="Frame 39668.png">
            <a:extLst>
              <a:ext uri="{FF2B5EF4-FFF2-40B4-BE49-F238E27FC236}">
                <a16:creationId xmlns:a16="http://schemas.microsoft.com/office/drawing/2014/main" id="{0883F8CB-209A-AC98-D978-4A303947D6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7926" y="1260168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7" name="Frame 39668.png" descr="Frame 39668.png">
            <a:extLst>
              <a:ext uri="{FF2B5EF4-FFF2-40B4-BE49-F238E27FC236}">
                <a16:creationId xmlns:a16="http://schemas.microsoft.com/office/drawing/2014/main" id="{90B377C1-FEAC-AB44-E34C-989B821587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584" y="2914570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8" name="Frame 39668.png" descr="Frame 39668.png">
            <a:extLst>
              <a:ext uri="{FF2B5EF4-FFF2-40B4-BE49-F238E27FC236}">
                <a16:creationId xmlns:a16="http://schemas.microsoft.com/office/drawing/2014/main" id="{20A83540-9098-8322-BA59-052D485108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81255" y="2914570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9" name="Frame 39668.png" descr="Frame 39668.png">
            <a:extLst>
              <a:ext uri="{FF2B5EF4-FFF2-40B4-BE49-F238E27FC236}">
                <a16:creationId xmlns:a16="http://schemas.microsoft.com/office/drawing/2014/main" id="{F722FBF0-4EFE-23BE-F642-3E4E500460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7926" y="2914570"/>
            <a:ext cx="445374" cy="445374"/>
          </a:xfrm>
          <a:prstGeom prst="rect">
            <a:avLst/>
          </a:prstGeom>
          <a:ln w="3175">
            <a:miter lim="400000"/>
          </a:ln>
        </p:spPr>
      </p:pic>
      <p:sp>
        <p:nvSpPr>
          <p:cNvPr id="30" name="Text 6">
            <a:extLst>
              <a:ext uri="{FF2B5EF4-FFF2-40B4-BE49-F238E27FC236}">
                <a16:creationId xmlns:a16="http://schemas.microsoft.com/office/drawing/2014/main" id="{FC0D68F3-4596-80FC-8A76-6989677F22B7}"/>
              </a:ext>
            </a:extLst>
          </p:cNvPr>
          <p:cNvSpPr txBox="1"/>
          <p:nvPr/>
        </p:nvSpPr>
        <p:spPr>
          <a:xfrm>
            <a:off x="3801670" y="1737351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 dirty="0">
                <a:latin typeface="IBM Plex Sans" panose="020B0503050203000203" pitchFamily="34" charset="0"/>
              </a:rPr>
              <a:t>Lorem ipsum dolor sit </a:t>
            </a:r>
            <a:r>
              <a:rPr sz="1200" dirty="0" err="1">
                <a:latin typeface="IBM Plex Sans" panose="020B0503050203000203" pitchFamily="34" charset="0"/>
              </a:rPr>
              <a:t>amet</a:t>
            </a:r>
            <a:r>
              <a:rPr sz="1200" dirty="0">
                <a:latin typeface="IBM Plex Sans" panose="020B0503050203000203" pitchFamily="34" charset="0"/>
              </a:rPr>
              <a:t>, </a:t>
            </a:r>
            <a:r>
              <a:rPr sz="1200" dirty="0" err="1">
                <a:latin typeface="IBM Plex Sans" panose="020B0503050203000203" pitchFamily="34" charset="0"/>
              </a:rPr>
              <a:t>consectetur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adipiscing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elit</a:t>
            </a:r>
            <a:endParaRPr lang="en-US" sz="1200" dirty="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IBM Plex Sans" panose="020B0503050203000203" pitchFamily="34" charset="0"/>
              </a:rPr>
              <a:t>Sed do </a:t>
            </a:r>
            <a:r>
              <a:rPr lang="en-US" sz="1200" dirty="0" err="1">
                <a:latin typeface="IBM Plex Sans" panose="020B0503050203000203" pitchFamily="34" charset="0"/>
              </a:rPr>
              <a:t>eiusmod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tempor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incididunt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ut</a:t>
            </a:r>
            <a:r>
              <a:rPr lang="en-US" sz="1200" dirty="0">
                <a:latin typeface="IBM Plex Sans" panose="020B0503050203000203" pitchFamily="34" charset="0"/>
              </a:rPr>
              <a:t> labore et dolore</a:t>
            </a:r>
            <a:endParaRPr sz="1200" dirty="0">
              <a:latin typeface="IBM Plex Sans" panose="020B0503050203000203" pitchFamily="34" charset="0"/>
            </a:endParaRPr>
          </a:p>
        </p:txBody>
      </p:sp>
      <p:sp>
        <p:nvSpPr>
          <p:cNvPr id="31" name="Text 6">
            <a:extLst>
              <a:ext uri="{FF2B5EF4-FFF2-40B4-BE49-F238E27FC236}">
                <a16:creationId xmlns:a16="http://schemas.microsoft.com/office/drawing/2014/main" id="{E9E3B280-DDDD-3FC8-2968-0CC8C05C5462}"/>
              </a:ext>
            </a:extLst>
          </p:cNvPr>
          <p:cNvSpPr txBox="1"/>
          <p:nvPr/>
        </p:nvSpPr>
        <p:spPr>
          <a:xfrm>
            <a:off x="6718340" y="1737351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 dirty="0">
                <a:latin typeface="IBM Plex Sans" panose="020B0503050203000203" pitchFamily="34" charset="0"/>
              </a:rPr>
              <a:t>Lorem ipsum dolor sit </a:t>
            </a:r>
            <a:r>
              <a:rPr sz="1200" dirty="0" err="1">
                <a:latin typeface="IBM Plex Sans" panose="020B0503050203000203" pitchFamily="34" charset="0"/>
              </a:rPr>
              <a:t>amet</a:t>
            </a:r>
            <a:r>
              <a:rPr sz="1200" dirty="0">
                <a:latin typeface="IBM Plex Sans" panose="020B0503050203000203" pitchFamily="34" charset="0"/>
              </a:rPr>
              <a:t>, </a:t>
            </a:r>
            <a:r>
              <a:rPr sz="1200" dirty="0" err="1">
                <a:latin typeface="IBM Plex Sans" panose="020B0503050203000203" pitchFamily="34" charset="0"/>
              </a:rPr>
              <a:t>consectetur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adipiscing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elit</a:t>
            </a:r>
            <a:endParaRPr lang="en-US" sz="1200" dirty="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IBM Plex Sans" panose="020B0503050203000203" pitchFamily="34" charset="0"/>
              </a:rPr>
              <a:t>Sed do </a:t>
            </a:r>
            <a:r>
              <a:rPr lang="en-US" sz="1200" dirty="0" err="1">
                <a:latin typeface="IBM Plex Sans" panose="020B0503050203000203" pitchFamily="34" charset="0"/>
              </a:rPr>
              <a:t>eiusmod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tempor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incididunt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ut</a:t>
            </a:r>
            <a:r>
              <a:rPr lang="en-US" sz="1200" dirty="0">
                <a:latin typeface="IBM Plex Sans" panose="020B0503050203000203" pitchFamily="34" charset="0"/>
              </a:rPr>
              <a:t> labore et dolore</a:t>
            </a:r>
            <a:endParaRPr sz="1200" dirty="0">
              <a:latin typeface="IBM Plex Sans" panose="020B0503050203000203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6EBA6445-048A-73DA-46D6-3DE8B5D16F30}"/>
              </a:ext>
            </a:extLst>
          </p:cNvPr>
          <p:cNvSpPr txBox="1"/>
          <p:nvPr/>
        </p:nvSpPr>
        <p:spPr>
          <a:xfrm>
            <a:off x="884997" y="3374342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 dirty="0">
                <a:latin typeface="IBM Plex Sans" panose="020B0503050203000203" pitchFamily="34" charset="0"/>
              </a:rPr>
              <a:t>Lorem ipsum dolor sit </a:t>
            </a:r>
            <a:r>
              <a:rPr sz="1200" dirty="0" err="1">
                <a:latin typeface="IBM Plex Sans" panose="020B0503050203000203" pitchFamily="34" charset="0"/>
              </a:rPr>
              <a:t>amet</a:t>
            </a:r>
            <a:r>
              <a:rPr sz="1200" dirty="0">
                <a:latin typeface="IBM Plex Sans" panose="020B0503050203000203" pitchFamily="34" charset="0"/>
              </a:rPr>
              <a:t>, </a:t>
            </a:r>
            <a:r>
              <a:rPr sz="1200" dirty="0" err="1">
                <a:latin typeface="IBM Plex Sans" panose="020B0503050203000203" pitchFamily="34" charset="0"/>
              </a:rPr>
              <a:t>consectetur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adipiscing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elit</a:t>
            </a:r>
            <a:endParaRPr lang="en-US" sz="1200" dirty="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IBM Plex Sans" panose="020B0503050203000203" pitchFamily="34" charset="0"/>
              </a:rPr>
              <a:t>Sed do </a:t>
            </a:r>
            <a:r>
              <a:rPr lang="en-US" sz="1200" dirty="0" err="1">
                <a:latin typeface="IBM Plex Sans" panose="020B0503050203000203" pitchFamily="34" charset="0"/>
              </a:rPr>
              <a:t>eiusmod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tempor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incididunt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ut</a:t>
            </a:r>
            <a:r>
              <a:rPr lang="en-US" sz="1200" dirty="0">
                <a:latin typeface="IBM Plex Sans" panose="020B0503050203000203" pitchFamily="34" charset="0"/>
              </a:rPr>
              <a:t> labore et dolore</a:t>
            </a:r>
            <a:endParaRPr sz="1200" dirty="0">
              <a:latin typeface="IBM Plex Sans" panose="020B0503050203000203" pitchFamily="34" charset="0"/>
            </a:endParaRPr>
          </a:p>
        </p:txBody>
      </p:sp>
      <p:sp>
        <p:nvSpPr>
          <p:cNvPr id="33" name="Text 6">
            <a:extLst>
              <a:ext uri="{FF2B5EF4-FFF2-40B4-BE49-F238E27FC236}">
                <a16:creationId xmlns:a16="http://schemas.microsoft.com/office/drawing/2014/main" id="{3949B979-2006-25D1-8DAF-BA2AC7865AFB}"/>
              </a:ext>
            </a:extLst>
          </p:cNvPr>
          <p:cNvSpPr txBox="1"/>
          <p:nvPr/>
        </p:nvSpPr>
        <p:spPr>
          <a:xfrm>
            <a:off x="3801670" y="3374342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 dirty="0">
                <a:latin typeface="IBM Plex Sans" panose="020B0503050203000203" pitchFamily="34" charset="0"/>
              </a:rPr>
              <a:t>Lorem ipsum dolor sit </a:t>
            </a:r>
            <a:r>
              <a:rPr sz="1200" dirty="0" err="1">
                <a:latin typeface="IBM Plex Sans" panose="020B0503050203000203" pitchFamily="34" charset="0"/>
              </a:rPr>
              <a:t>amet</a:t>
            </a:r>
            <a:r>
              <a:rPr sz="1200" dirty="0">
                <a:latin typeface="IBM Plex Sans" panose="020B0503050203000203" pitchFamily="34" charset="0"/>
              </a:rPr>
              <a:t>, </a:t>
            </a:r>
            <a:r>
              <a:rPr sz="1200" dirty="0" err="1">
                <a:latin typeface="IBM Plex Sans" panose="020B0503050203000203" pitchFamily="34" charset="0"/>
              </a:rPr>
              <a:t>consectetur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adipiscing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elit</a:t>
            </a:r>
            <a:endParaRPr lang="en-US" sz="1200" dirty="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IBM Plex Sans" panose="020B0503050203000203" pitchFamily="34" charset="0"/>
              </a:rPr>
              <a:t>Sed do </a:t>
            </a:r>
            <a:r>
              <a:rPr lang="en-US" sz="1200" dirty="0" err="1">
                <a:latin typeface="IBM Plex Sans" panose="020B0503050203000203" pitchFamily="34" charset="0"/>
              </a:rPr>
              <a:t>eiusmod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tempor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incididunt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ut</a:t>
            </a:r>
            <a:r>
              <a:rPr lang="en-US" sz="1200" dirty="0">
                <a:latin typeface="IBM Plex Sans" panose="020B0503050203000203" pitchFamily="34" charset="0"/>
              </a:rPr>
              <a:t> labore et dolore</a:t>
            </a:r>
            <a:endParaRPr sz="1200" dirty="0">
              <a:latin typeface="IBM Plex Sans" panose="020B0503050203000203" pitchFamily="34" charset="0"/>
            </a:endParaRPr>
          </a:p>
        </p:txBody>
      </p:sp>
      <p:sp>
        <p:nvSpPr>
          <p:cNvPr id="34" name="Text 6">
            <a:extLst>
              <a:ext uri="{FF2B5EF4-FFF2-40B4-BE49-F238E27FC236}">
                <a16:creationId xmlns:a16="http://schemas.microsoft.com/office/drawing/2014/main" id="{A78FDA0A-ACB9-640E-72EB-66A3F7181D82}"/>
              </a:ext>
            </a:extLst>
          </p:cNvPr>
          <p:cNvSpPr txBox="1"/>
          <p:nvPr/>
        </p:nvSpPr>
        <p:spPr>
          <a:xfrm>
            <a:off x="6718340" y="3374342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 dirty="0">
                <a:latin typeface="IBM Plex Sans" panose="020B0503050203000203" pitchFamily="34" charset="0"/>
              </a:rPr>
              <a:t>Lorem ipsum dolor sit </a:t>
            </a:r>
            <a:r>
              <a:rPr sz="1200" dirty="0" err="1">
                <a:latin typeface="IBM Plex Sans" panose="020B0503050203000203" pitchFamily="34" charset="0"/>
              </a:rPr>
              <a:t>amet</a:t>
            </a:r>
            <a:r>
              <a:rPr sz="1200" dirty="0">
                <a:latin typeface="IBM Plex Sans" panose="020B0503050203000203" pitchFamily="34" charset="0"/>
              </a:rPr>
              <a:t>, </a:t>
            </a:r>
            <a:r>
              <a:rPr sz="1200" dirty="0" err="1">
                <a:latin typeface="IBM Plex Sans" panose="020B0503050203000203" pitchFamily="34" charset="0"/>
              </a:rPr>
              <a:t>consectetur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adipiscing</a:t>
            </a:r>
            <a:r>
              <a:rPr sz="1200" dirty="0">
                <a:latin typeface="IBM Plex Sans" panose="020B0503050203000203" pitchFamily="34" charset="0"/>
              </a:rPr>
              <a:t> </a:t>
            </a:r>
            <a:r>
              <a:rPr sz="1200" dirty="0" err="1">
                <a:latin typeface="IBM Plex Sans" panose="020B0503050203000203" pitchFamily="34" charset="0"/>
              </a:rPr>
              <a:t>elit</a:t>
            </a:r>
            <a:endParaRPr lang="en-US" sz="1200" dirty="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latin typeface="IBM Plex Sans" panose="020B0503050203000203" pitchFamily="34" charset="0"/>
              </a:rPr>
              <a:t>Sed do </a:t>
            </a:r>
            <a:r>
              <a:rPr lang="en-US" sz="1200" dirty="0" err="1">
                <a:latin typeface="IBM Plex Sans" panose="020B0503050203000203" pitchFamily="34" charset="0"/>
              </a:rPr>
              <a:t>eiusmod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tempor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incididunt</a:t>
            </a:r>
            <a:r>
              <a:rPr lang="en-US" sz="1200" dirty="0">
                <a:latin typeface="IBM Plex Sans" panose="020B0503050203000203" pitchFamily="34" charset="0"/>
              </a:rPr>
              <a:t> </a:t>
            </a:r>
            <a:r>
              <a:rPr lang="en-US" sz="1200" dirty="0" err="1">
                <a:latin typeface="IBM Plex Sans" panose="020B0503050203000203" pitchFamily="34" charset="0"/>
              </a:rPr>
              <a:t>ut</a:t>
            </a:r>
            <a:r>
              <a:rPr lang="en-US" sz="1200" dirty="0">
                <a:latin typeface="IBM Plex Sans" panose="020B0503050203000203" pitchFamily="34" charset="0"/>
              </a:rPr>
              <a:t> labore et dolore</a:t>
            </a:r>
            <a:endParaRPr sz="120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6459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8957769-76C4-9E4A-C0FE-4C992CD5C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131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957769-76C4-9E4A-C0FE-4C992CD5C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Group 46">
            <a:extLst>
              <a:ext uri="{FF2B5EF4-FFF2-40B4-BE49-F238E27FC236}">
                <a16:creationId xmlns:a16="http://schemas.microsoft.com/office/drawing/2014/main" id="{F208A539-16F1-0C8B-2DCC-7C6BD4851078}"/>
              </a:ext>
            </a:extLst>
          </p:cNvPr>
          <p:cNvGraphicFramePr>
            <a:graphicFrameLocks noGrp="1"/>
          </p:cNvGraphicFramePr>
          <p:nvPr/>
        </p:nvGraphicFramePr>
        <p:xfrm>
          <a:off x="227711" y="2079655"/>
          <a:ext cx="8546260" cy="2774364"/>
        </p:xfrm>
        <a:graphic>
          <a:graphicData uri="http://schemas.openxmlformats.org/drawingml/2006/table">
            <a:tbl>
              <a:tblPr/>
              <a:tblGrid>
                <a:gridCol w="1010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3997933733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2310383970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1200822505"/>
                    </a:ext>
                  </a:extLst>
                </a:gridCol>
              </a:tblGrid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Timing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Key Activities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Deliverables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6969471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EB0FBF-7363-6374-7C3F-3579A4691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DC178F6-01BD-FC5D-A69B-64DF26D360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AF3B0B-1872-05DA-3CEE-1A2F757A0D25}"/>
              </a:ext>
            </a:extLst>
          </p:cNvPr>
          <p:cNvGrpSpPr/>
          <p:nvPr/>
        </p:nvGrpSpPr>
        <p:grpSpPr>
          <a:xfrm>
            <a:off x="1202596" y="1264543"/>
            <a:ext cx="7492923" cy="595001"/>
            <a:chOff x="876409" y="3305174"/>
            <a:chExt cx="14492513" cy="1104901"/>
          </a:xfrm>
        </p:grpSpPr>
        <p:sp>
          <p:nvSpPr>
            <p:cNvPr id="6" name="Shape 3">
              <a:extLst>
                <a:ext uri="{FF2B5EF4-FFF2-40B4-BE49-F238E27FC236}">
                  <a16:creationId xmlns:a16="http://schemas.microsoft.com/office/drawing/2014/main" id="{8BAB33E2-5167-96BB-9599-4961D949EEE0}"/>
                </a:ext>
              </a:extLst>
            </p:cNvPr>
            <p:cNvSpPr/>
            <p:nvPr/>
          </p:nvSpPr>
          <p:spPr>
            <a:xfrm>
              <a:off x="876409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r>
                <a:rPr lang="en-US" sz="1800" b="1" dirty="0">
                  <a:solidFill>
                    <a:schemeClr val="bg2"/>
                  </a:solidFill>
                  <a:latin typeface="IBM Plex Sans" panose="020B0503050203000203" pitchFamily="34" charset="0"/>
                </a:rPr>
                <a:t>Step 1</a:t>
              </a:r>
              <a:endParaRPr sz="1800" b="1" dirty="0">
                <a:solidFill>
                  <a:schemeClr val="bg2"/>
                </a:solidFill>
                <a:latin typeface="IBM Plex Sans" panose="020B0503050203000203" pitchFamily="34" charset="0"/>
              </a:endParaRPr>
            </a:p>
          </p:txBody>
        </p:sp>
        <p:sp>
          <p:nvSpPr>
            <p:cNvPr id="7" name="Shape 4">
              <a:extLst>
                <a:ext uri="{FF2B5EF4-FFF2-40B4-BE49-F238E27FC236}">
                  <a16:creationId xmlns:a16="http://schemas.microsoft.com/office/drawing/2014/main" id="{FCEB3D5C-B2A4-B01C-27B0-1249C8786CC4}"/>
                </a:ext>
              </a:extLst>
            </p:cNvPr>
            <p:cNvSpPr/>
            <p:nvPr/>
          </p:nvSpPr>
          <p:spPr>
            <a:xfrm>
              <a:off x="3835879" y="3305174"/>
              <a:ext cx="2654632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 dirty="0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2</a:t>
              </a:r>
              <a:endParaRPr sz="1800" b="1" dirty="0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sp>
          <p:nvSpPr>
            <p:cNvPr id="8" name="Shape 5">
              <a:extLst>
                <a:ext uri="{FF2B5EF4-FFF2-40B4-BE49-F238E27FC236}">
                  <a16:creationId xmlns:a16="http://schemas.microsoft.com/office/drawing/2014/main" id="{00C571A5-F805-B1FB-46EB-6E3649BCE341}"/>
                </a:ext>
              </a:extLst>
            </p:cNvPr>
            <p:cNvSpPr/>
            <p:nvPr/>
          </p:nvSpPr>
          <p:spPr>
            <a:xfrm>
              <a:off x="6795348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 dirty="0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3</a:t>
              </a:r>
              <a:endParaRPr sz="1800" b="1" dirty="0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sp>
          <p:nvSpPr>
            <p:cNvPr id="9" name="Shape 6">
              <a:extLst>
                <a:ext uri="{FF2B5EF4-FFF2-40B4-BE49-F238E27FC236}">
                  <a16:creationId xmlns:a16="http://schemas.microsoft.com/office/drawing/2014/main" id="{0D0C858A-8CC0-F7A0-C7AF-626A19AF5522}"/>
                </a:ext>
              </a:extLst>
            </p:cNvPr>
            <p:cNvSpPr/>
            <p:nvPr/>
          </p:nvSpPr>
          <p:spPr>
            <a:xfrm>
              <a:off x="9754819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 dirty="0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4</a:t>
              </a:r>
              <a:endParaRPr sz="1800" b="1" dirty="0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sp>
          <p:nvSpPr>
            <p:cNvPr id="10" name="Shape 7">
              <a:extLst>
                <a:ext uri="{FF2B5EF4-FFF2-40B4-BE49-F238E27FC236}">
                  <a16:creationId xmlns:a16="http://schemas.microsoft.com/office/drawing/2014/main" id="{4E0AAF51-1608-8211-4EAB-9BD6F2A4A612}"/>
                </a:ext>
              </a:extLst>
            </p:cNvPr>
            <p:cNvSpPr/>
            <p:nvPr/>
          </p:nvSpPr>
          <p:spPr>
            <a:xfrm>
              <a:off x="12714289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 dirty="0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5</a:t>
              </a:r>
              <a:endParaRPr sz="1800" b="1" dirty="0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pic>
          <p:nvPicPr>
            <p:cNvPr id="11" name="Image 1" descr="Image 1">
              <a:extLst>
                <a:ext uri="{FF2B5EF4-FFF2-40B4-BE49-F238E27FC236}">
                  <a16:creationId xmlns:a16="http://schemas.microsoft.com/office/drawing/2014/main" id="{3D98D8D3-963C-36A4-90DC-AF1542546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61233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12" name="Image 2" descr="Image 2">
              <a:extLst>
                <a:ext uri="{FF2B5EF4-FFF2-40B4-BE49-F238E27FC236}">
                  <a16:creationId xmlns:a16="http://schemas.microsoft.com/office/drawing/2014/main" id="{7441B2F0-68DA-71B7-3240-0EA03BF9C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20702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13" name="Image 3" descr="Image 3">
              <a:extLst>
                <a:ext uri="{FF2B5EF4-FFF2-40B4-BE49-F238E27FC236}">
                  <a16:creationId xmlns:a16="http://schemas.microsoft.com/office/drawing/2014/main" id="{FE62F0E4-C85A-27E5-B92E-DE3B52BD7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80171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14" name="Image 4" descr="Image 4">
              <a:extLst>
                <a:ext uri="{FF2B5EF4-FFF2-40B4-BE49-F238E27FC236}">
                  <a16:creationId xmlns:a16="http://schemas.microsoft.com/office/drawing/2014/main" id="{33641C6C-EB71-F22F-A317-280231355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539642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35041632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DC6A059-5F82-CB37-4964-FA3E7EB39D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031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38" imgH="540" progId="TCLayout.ActiveDocument.1">
                  <p:embed/>
                </p:oleObj>
              </mc:Choice>
              <mc:Fallback>
                <p:oleObj name="think-cell Slide" r:id="rId10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C6A059-5F82-CB37-4964-FA3E7EB39D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290" name="Rectangle 2">
            <a:extLst>
              <a:ext uri="{FF2B5EF4-FFF2-40B4-BE49-F238E27FC236}">
                <a16:creationId xmlns:a16="http://schemas.microsoft.com/office/drawing/2014/main" id="{737AC766-13EF-DC25-CB2D-F9CA1E4C4B1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>
              <a:tabLst>
                <a:tab pos="2667602" algn="l"/>
              </a:tabLst>
            </a:pPr>
            <a:endParaRPr lang="en-US" alt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0BC3A981-EF75-55D1-571A-1FE08E632B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A021BA3-1439-6280-3F66-167C815AFF04}"/>
              </a:ext>
            </a:extLst>
          </p:cNvPr>
          <p:cNvGrpSpPr/>
          <p:nvPr/>
        </p:nvGrpSpPr>
        <p:grpSpPr>
          <a:xfrm>
            <a:off x="587066" y="1148909"/>
            <a:ext cx="7745715" cy="2042573"/>
            <a:chOff x="1234313" y="1148909"/>
            <a:chExt cx="6676589" cy="2042573"/>
          </a:xfrm>
        </p:grpSpPr>
        <p:grpSp>
          <p:nvGrpSpPr>
            <p:cNvPr id="140291" name="Group 3">
              <a:extLst>
                <a:ext uri="{FF2B5EF4-FFF2-40B4-BE49-F238E27FC236}">
                  <a16:creationId xmlns:a16="http://schemas.microsoft.com/office/drawing/2014/main" id="{3047C2B6-9B01-2F3B-B8E7-00A55F08F2D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34313" y="1653071"/>
              <a:ext cx="6676589" cy="664501"/>
              <a:chOff x="75" y="1142"/>
              <a:chExt cx="5247" cy="826"/>
            </a:xfrm>
          </p:grpSpPr>
          <p:cxnSp>
            <p:nvCxnSpPr>
              <p:cNvPr id="140302" name="AutoShape 4">
                <a:extLst>
                  <a:ext uri="{FF2B5EF4-FFF2-40B4-BE49-F238E27FC236}">
                    <a16:creationId xmlns:a16="http://schemas.microsoft.com/office/drawing/2014/main" id="{6A0EE2F0-3254-BCBB-743D-173A018A1DF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75" y="1968"/>
                <a:ext cx="1749" cy="0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3" name="AutoShape 5">
                <a:extLst>
                  <a:ext uri="{FF2B5EF4-FFF2-40B4-BE49-F238E27FC236}">
                    <a16:creationId xmlns:a16="http://schemas.microsoft.com/office/drawing/2014/main" id="{81BC9F45-EB62-0D9A-D8DF-BD03FFD09CAB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1824" y="1559"/>
                <a:ext cx="0" cy="409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4" name="AutoShape 6">
                <a:extLst>
                  <a:ext uri="{FF2B5EF4-FFF2-40B4-BE49-F238E27FC236}">
                    <a16:creationId xmlns:a16="http://schemas.microsoft.com/office/drawing/2014/main" id="{49853D63-A8FA-5DAD-287B-2283BF3CFE3E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1824" y="1551"/>
                <a:ext cx="1749" cy="0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5" name="AutoShape 7">
                <a:extLst>
                  <a:ext uri="{FF2B5EF4-FFF2-40B4-BE49-F238E27FC236}">
                    <a16:creationId xmlns:a16="http://schemas.microsoft.com/office/drawing/2014/main" id="{FF5B4086-C3BC-C904-FE78-563227D52028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3573" y="1142"/>
                <a:ext cx="0" cy="409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6" name="AutoShape 8">
                <a:extLst>
                  <a:ext uri="{FF2B5EF4-FFF2-40B4-BE49-F238E27FC236}">
                    <a16:creationId xmlns:a16="http://schemas.microsoft.com/office/drawing/2014/main" id="{4BC59553-6F99-C9E0-DCC9-1D42EF7058C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3573" y="1142"/>
                <a:ext cx="1749" cy="0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40292" name="Rectangle 9">
              <a:extLst>
                <a:ext uri="{FF2B5EF4-FFF2-40B4-BE49-F238E27FC236}">
                  <a16:creationId xmlns:a16="http://schemas.microsoft.com/office/drawing/2014/main" id="{10DC722F-D144-F74F-BCCB-70C2584A5D71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239173" y="1813409"/>
              <a:ext cx="2070034" cy="479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69973" bIns="69973" anchor="b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eaLnBrk="1" hangingPunct="1"/>
              <a:r>
                <a:rPr lang="en-US" altLang="en-US" sz="1100" b="1" dirty="0">
                  <a:latin typeface="IBM Plex Sans" panose="020B0503050203000203" pitchFamily="34" charset="0"/>
                </a:rPr>
                <a:t>Near term:</a:t>
              </a:r>
            </a:p>
            <a:p>
              <a:pPr eaLnBrk="1" hangingPunct="1"/>
              <a:r>
                <a:rPr lang="en-US" altLang="en-US" sz="1100" dirty="0">
                  <a:latin typeface="IBM Plex Sans" panose="020B0503050203000203" pitchFamily="34" charset="0"/>
                </a:rPr>
                <a:t>Quick Wins</a:t>
              </a:r>
            </a:p>
          </p:txBody>
        </p:sp>
        <p:sp>
          <p:nvSpPr>
            <p:cNvPr id="140293" name="Rectangle 10">
              <a:extLst>
                <a:ext uri="{FF2B5EF4-FFF2-40B4-BE49-F238E27FC236}">
                  <a16:creationId xmlns:a16="http://schemas.microsoft.com/office/drawing/2014/main" id="{613C6822-AC77-3699-FC43-40BAAD8E3F4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459843" y="1478122"/>
              <a:ext cx="2225530" cy="479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69973" bIns="69973" anchor="b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eaLnBrk="1" hangingPunct="1"/>
              <a:r>
                <a:rPr lang="en-US" altLang="en-US" sz="1100" b="1" dirty="0">
                  <a:latin typeface="IBM Plex Sans" panose="020B0503050203000203" pitchFamily="34" charset="0"/>
                </a:rPr>
                <a:t>Medium term:</a:t>
              </a:r>
            </a:p>
            <a:p>
              <a:pPr eaLnBrk="1" hangingPunct="1"/>
              <a:r>
                <a:rPr lang="en-US" altLang="en-US" sz="1100" dirty="0">
                  <a:latin typeface="IBM Plex Sans" panose="020B0503050203000203" pitchFamily="34" charset="0"/>
                </a:rPr>
                <a:t>New Capabilities</a:t>
              </a:r>
            </a:p>
          </p:txBody>
        </p:sp>
        <p:sp>
          <p:nvSpPr>
            <p:cNvPr id="140294" name="Rectangle 11">
              <a:extLst>
                <a:ext uri="{FF2B5EF4-FFF2-40B4-BE49-F238E27FC236}">
                  <a16:creationId xmlns:a16="http://schemas.microsoft.com/office/drawing/2014/main" id="{845DA991-FF9D-A38F-DE7D-C999FADF3E0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685373" y="1148909"/>
              <a:ext cx="2207307" cy="479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69973" bIns="69973" anchor="b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eaLnBrk="1" hangingPunct="1"/>
              <a:r>
                <a:rPr lang="en-US" altLang="en-US" sz="1100" b="1" dirty="0">
                  <a:latin typeface="IBM Plex Sans" panose="020B0503050203000203" pitchFamily="34" charset="0"/>
                </a:rPr>
                <a:t>Long term:</a:t>
              </a:r>
            </a:p>
            <a:p>
              <a:pPr eaLnBrk="1" hangingPunct="1"/>
              <a:r>
                <a:rPr lang="en-US" altLang="en-US" sz="1100" dirty="0">
                  <a:latin typeface="IBM Plex Sans" panose="020B0503050203000203" pitchFamily="34" charset="0"/>
                </a:rPr>
                <a:t>Performance Optimization</a:t>
              </a:r>
            </a:p>
          </p:txBody>
        </p:sp>
        <p:sp>
          <p:nvSpPr>
            <p:cNvPr id="140295" name="Rectangle 12">
              <a:extLst>
                <a:ext uri="{FF2B5EF4-FFF2-40B4-BE49-F238E27FC236}">
                  <a16:creationId xmlns:a16="http://schemas.microsoft.com/office/drawing/2014/main" id="{69CB431F-1DC4-5DB4-2DA5-FCA6991219F5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34313" y="2353122"/>
              <a:ext cx="2225530" cy="8383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4959" tIns="104959" rIns="104959" bIns="69973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14300" indent="-112713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285750" indent="-169863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623888" indent="-134938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887413" indent="-14922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3446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801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259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716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IBM Plex Sans" panose="020B0503050203000203" pitchFamily="34" charset="0"/>
                </a:rPr>
                <a:t>Bullets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IBM Plex Sans" panose="020B0503050203000203" pitchFamily="34" charset="0"/>
                </a:rPr>
                <a:t>Bullets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</a:pPr>
              <a:r>
                <a:rPr lang="en-US" altLang="en-US" sz="1100" dirty="0">
                  <a:latin typeface="IBM Plex Sans" panose="020B0503050203000203" pitchFamily="34" charset="0"/>
                </a:rPr>
                <a:t>Sub bullets</a:t>
              </a:r>
            </a:p>
          </p:txBody>
        </p:sp>
        <p:sp>
          <p:nvSpPr>
            <p:cNvPr id="140296" name="Rectangle 13">
              <a:extLst>
                <a:ext uri="{FF2B5EF4-FFF2-40B4-BE49-F238E27FC236}">
                  <a16:creationId xmlns:a16="http://schemas.microsoft.com/office/drawing/2014/main" id="{8C24D84B-566A-3104-281C-00AFFFE206E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59843" y="2023908"/>
              <a:ext cx="2225530" cy="8383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4959" tIns="104959" rIns="104959" bIns="69973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14300" indent="-112713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285750" indent="-169863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623888" indent="-134938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887413" indent="-14922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3446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801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259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716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IBM Plex Sans" panose="020B0503050203000203" pitchFamily="34" charset="0"/>
                </a:rPr>
                <a:t>Bullets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IBM Plex Sans" panose="020B0503050203000203" pitchFamily="34" charset="0"/>
                </a:rPr>
                <a:t>Bullets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</a:pPr>
              <a:r>
                <a:rPr lang="en-US" altLang="en-US" sz="1100" dirty="0">
                  <a:latin typeface="IBM Plex Sans" panose="020B0503050203000203" pitchFamily="34" charset="0"/>
                </a:rPr>
                <a:t>Sub bullets</a:t>
              </a:r>
            </a:p>
          </p:txBody>
        </p:sp>
        <p:sp>
          <p:nvSpPr>
            <p:cNvPr id="140297" name="Rectangle 14">
              <a:extLst>
                <a:ext uri="{FF2B5EF4-FFF2-40B4-BE49-F238E27FC236}">
                  <a16:creationId xmlns:a16="http://schemas.microsoft.com/office/drawing/2014/main" id="{909856CE-4724-C571-5868-A70A03FD6CF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685372" y="1682227"/>
              <a:ext cx="2225530" cy="8383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4959" tIns="104959" rIns="104959" bIns="69973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14300" indent="-112713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285750" indent="-169863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623888" indent="-134938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887413" indent="-14922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3446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801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259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716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IBM Plex Sans" panose="020B0503050203000203" pitchFamily="34" charset="0"/>
                </a:rPr>
                <a:t>Bullets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 dirty="0">
                  <a:latin typeface="IBM Plex Sans" panose="020B0503050203000203" pitchFamily="34" charset="0"/>
                </a:rPr>
                <a:t>Bullets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</a:pPr>
              <a:r>
                <a:rPr lang="en-US" altLang="en-US" sz="1100" dirty="0">
                  <a:latin typeface="IBM Plex Sans" panose="020B0503050203000203" pitchFamily="34" charset="0"/>
                </a:rPr>
                <a:t>Sub bullets</a:t>
              </a:r>
            </a:p>
          </p:txBody>
        </p:sp>
      </p:grpSp>
      <p:sp>
        <p:nvSpPr>
          <p:cNvPr id="140298" name="AutoShape 15">
            <a:extLst>
              <a:ext uri="{FF2B5EF4-FFF2-40B4-BE49-F238E27FC236}">
                <a16:creationId xmlns:a16="http://schemas.microsoft.com/office/drawing/2014/main" id="{7EEBC834-7833-1570-8605-69F7D502C8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6471" y="29156"/>
            <a:ext cx="1606209" cy="1177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r" eaLnBrk="1" hangingPunct="1"/>
            <a:r>
              <a:rPr lang="en-US" altLang="en-US" sz="765" b="1">
                <a:solidFill>
                  <a:schemeClr val="bg1"/>
                </a:solidFill>
                <a:latin typeface="Arial" panose="020B0604020202020204" pitchFamily="34" charset="0"/>
              </a:rPr>
              <a:t>PRELIMINARY - FOR DISCUSSION</a:t>
            </a:r>
          </a:p>
        </p:txBody>
      </p:sp>
      <p:cxnSp>
        <p:nvCxnSpPr>
          <p:cNvPr id="140299" name="AutoShape 16">
            <a:extLst>
              <a:ext uri="{FF2B5EF4-FFF2-40B4-BE49-F238E27FC236}">
                <a16:creationId xmlns:a16="http://schemas.microsoft.com/office/drawing/2014/main" id="{6EB2613F-A03A-9905-A371-329671BD9BEF}"/>
              </a:ext>
            </a:extLst>
          </p:cNvPr>
          <p:cNvCxnSpPr>
            <a:cxnSpLocks noChangeShapeType="1"/>
            <a:stCxn id="140298" idx="2"/>
            <a:endCxn id="140298" idx="0"/>
          </p:cNvCxnSpPr>
          <p:nvPr/>
        </p:nvCxnSpPr>
        <p:spPr bwMode="gray">
          <a:xfrm>
            <a:off x="6286471" y="29156"/>
            <a:ext cx="1606209" cy="0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0300" name="AutoShape 17">
            <a:extLst>
              <a:ext uri="{FF2B5EF4-FFF2-40B4-BE49-F238E27FC236}">
                <a16:creationId xmlns:a16="http://schemas.microsoft.com/office/drawing/2014/main" id="{F9A66E6E-D5FB-74DB-5D55-79FD7821FC1A}"/>
              </a:ext>
            </a:extLst>
          </p:cNvPr>
          <p:cNvCxnSpPr>
            <a:cxnSpLocks noChangeShapeType="1"/>
            <a:stCxn id="140298" idx="4"/>
            <a:endCxn id="140298" idx="6"/>
          </p:cNvCxnSpPr>
          <p:nvPr/>
        </p:nvCxnSpPr>
        <p:spPr bwMode="gray">
          <a:xfrm>
            <a:off x="6286471" y="146881"/>
            <a:ext cx="1606209" cy="0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08327B3-A8A2-BE5A-3D0F-0DB37E10CB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04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8327B3-A8A2-BE5A-3D0F-0DB37E10C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B7CF7F-4935-E955-33E2-1DAD0ED48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eel free to use these icons in your 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B25D2B-1C81-7265-FC6C-AF9FE2E7488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pproved Icons</a:t>
            </a:r>
          </a:p>
        </p:txBody>
      </p:sp>
      <p:pic>
        <p:nvPicPr>
          <p:cNvPr id="10" name="Frame 39516.png" descr="Frame 39516.png">
            <a:extLst>
              <a:ext uri="{FF2B5EF4-FFF2-40B4-BE49-F238E27FC236}">
                <a16:creationId xmlns:a16="http://schemas.microsoft.com/office/drawing/2014/main" id="{98DAE3AC-D657-FBBB-C198-0C12E82540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941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" name="Frame 39517.png" descr="Frame 39517.png">
            <a:extLst>
              <a:ext uri="{FF2B5EF4-FFF2-40B4-BE49-F238E27FC236}">
                <a16:creationId xmlns:a16="http://schemas.microsoft.com/office/drawing/2014/main" id="{D7F8A449-3C5A-CFB9-33EA-C241C119E4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8576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" name="Frame 39518.png" descr="Frame 39518.png">
            <a:extLst>
              <a:ext uri="{FF2B5EF4-FFF2-40B4-BE49-F238E27FC236}">
                <a16:creationId xmlns:a16="http://schemas.microsoft.com/office/drawing/2014/main" id="{F09DFB85-6F08-2838-9AB8-8879F9FFC7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3996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Frame 39519.png" descr="Frame 39519.png">
            <a:extLst>
              <a:ext uri="{FF2B5EF4-FFF2-40B4-BE49-F238E27FC236}">
                <a16:creationId xmlns:a16="http://schemas.microsoft.com/office/drawing/2014/main" id="{0B20B882-7D6B-B88B-E05C-5C21B574AC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651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4" name="Frame 39520.png" descr="Frame 39520.png">
            <a:extLst>
              <a:ext uri="{FF2B5EF4-FFF2-40B4-BE49-F238E27FC236}">
                <a16:creationId xmlns:a16="http://schemas.microsoft.com/office/drawing/2014/main" id="{3F7F3D1A-FA72-EAA5-65EE-4F9DC600718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483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5" name="Frame 39521.png" descr="Frame 39521.png">
            <a:extLst>
              <a:ext uri="{FF2B5EF4-FFF2-40B4-BE49-F238E27FC236}">
                <a16:creationId xmlns:a16="http://schemas.microsoft.com/office/drawing/2014/main" id="{281ADCF2-E5B3-2690-30B3-FA1AD07BAFC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3156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6" name="Frame 39522.png" descr="Frame 39522.png">
            <a:extLst>
              <a:ext uri="{FF2B5EF4-FFF2-40B4-BE49-F238E27FC236}">
                <a16:creationId xmlns:a16="http://schemas.microsoft.com/office/drawing/2014/main" id="{859F924D-0208-2958-7824-E4452BECC9F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8483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7" name="Frame 39523.png" descr="Frame 39523.png">
            <a:extLst>
              <a:ext uri="{FF2B5EF4-FFF2-40B4-BE49-F238E27FC236}">
                <a16:creationId xmlns:a16="http://schemas.microsoft.com/office/drawing/2014/main" id="{10818DCC-817E-EEB3-C1DA-8D76454FCFF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5025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8" name="Frame 39524.png" descr="Frame 39524.png">
            <a:extLst>
              <a:ext uri="{FF2B5EF4-FFF2-40B4-BE49-F238E27FC236}">
                <a16:creationId xmlns:a16="http://schemas.microsoft.com/office/drawing/2014/main" id="{143C8484-22F2-2682-BB6B-7FC6954FB50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1567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9" name="Frame 39525.png" descr="Frame 39525.png">
            <a:extLst>
              <a:ext uri="{FF2B5EF4-FFF2-40B4-BE49-F238E27FC236}">
                <a16:creationId xmlns:a16="http://schemas.microsoft.com/office/drawing/2014/main" id="{5887F247-604A-3D6D-ECB4-08548897D52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68109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0" name="Frame 39526.png" descr="Frame 39526.png">
            <a:extLst>
              <a:ext uri="{FF2B5EF4-FFF2-40B4-BE49-F238E27FC236}">
                <a16:creationId xmlns:a16="http://schemas.microsoft.com/office/drawing/2014/main" id="{CC9F368C-D10E-3F5A-FDAC-1EDF635EEAB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1193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1" name="Frame 39527.png" descr="Frame 39527.png">
            <a:extLst>
              <a:ext uri="{FF2B5EF4-FFF2-40B4-BE49-F238E27FC236}">
                <a16:creationId xmlns:a16="http://schemas.microsoft.com/office/drawing/2014/main" id="{A3209A29-B0F7-759A-9FD8-07F27E3F7CC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07735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2" name="Frame 39528.png" descr="Frame 39528.png">
            <a:extLst>
              <a:ext uri="{FF2B5EF4-FFF2-40B4-BE49-F238E27FC236}">
                <a16:creationId xmlns:a16="http://schemas.microsoft.com/office/drawing/2014/main" id="{A44FB8AF-F54F-A153-E30F-E111806E017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473619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3" name="Frame 39529.png" descr="Frame 39529.png">
            <a:extLst>
              <a:ext uri="{FF2B5EF4-FFF2-40B4-BE49-F238E27FC236}">
                <a16:creationId xmlns:a16="http://schemas.microsoft.com/office/drawing/2014/main" id="{E323976F-43AA-307F-233C-0DD953DB196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54277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4" name="Frame 39530.png" descr="Frame 39530.png">
            <a:extLst>
              <a:ext uri="{FF2B5EF4-FFF2-40B4-BE49-F238E27FC236}">
                <a16:creationId xmlns:a16="http://schemas.microsoft.com/office/drawing/2014/main" id="{6423464B-D588-044F-E31E-6AB9AC76D8B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00819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5" name="Frame 39531.png" descr="Frame 39531.png">
            <a:extLst>
              <a:ext uri="{FF2B5EF4-FFF2-40B4-BE49-F238E27FC236}">
                <a16:creationId xmlns:a16="http://schemas.microsoft.com/office/drawing/2014/main" id="{CC1D0770-3D99-1BED-D2D5-9D2385EA8DF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473619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6" name="Frame 39532.png" descr="Frame 39532.png">
            <a:extLst>
              <a:ext uri="{FF2B5EF4-FFF2-40B4-BE49-F238E27FC236}">
                <a16:creationId xmlns:a16="http://schemas.microsoft.com/office/drawing/2014/main" id="{EE80C85B-22F1-F031-5158-7650FC80E15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3903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7" name="Frame 39533.png" descr="Frame 39533.png">
            <a:extLst>
              <a:ext uri="{FF2B5EF4-FFF2-40B4-BE49-F238E27FC236}">
                <a16:creationId xmlns:a16="http://schemas.microsoft.com/office/drawing/2014/main" id="{AD33679A-B92B-FA32-1FC7-E5BC713FBA2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40445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8" name="Frame 39534.png" descr="Frame 39534.png">
            <a:extLst>
              <a:ext uri="{FF2B5EF4-FFF2-40B4-BE49-F238E27FC236}">
                <a16:creationId xmlns:a16="http://schemas.microsoft.com/office/drawing/2014/main" id="{D0250BEC-E73F-C541-76C5-4B64434B329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869879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9" name="Frame 39535.png" descr="Frame 39535.png">
            <a:extLst>
              <a:ext uri="{FF2B5EF4-FFF2-40B4-BE49-F238E27FC236}">
                <a16:creationId xmlns:a16="http://schemas.microsoft.com/office/drawing/2014/main" id="{504FB642-FBF2-6697-BE8F-CBF2BE7421D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389730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0" name="Frame 39536.png" descr="Frame 39536.png">
            <a:extLst>
              <a:ext uri="{FF2B5EF4-FFF2-40B4-BE49-F238E27FC236}">
                <a16:creationId xmlns:a16="http://schemas.microsoft.com/office/drawing/2014/main" id="{2648CE7C-CD58-DCD6-14F1-ADF259329C7D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23156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1" name="Frame 39537.png" descr="Frame 39537.png">
            <a:extLst>
              <a:ext uri="{FF2B5EF4-FFF2-40B4-BE49-F238E27FC236}">
                <a16:creationId xmlns:a16="http://schemas.microsoft.com/office/drawing/2014/main" id="{6BCA4D8C-E14B-145A-5619-E1A892F3254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88576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2" name="Frame 39538.png" descr="Frame 39538.png">
            <a:extLst>
              <a:ext uri="{FF2B5EF4-FFF2-40B4-BE49-F238E27FC236}">
                <a16:creationId xmlns:a16="http://schemas.microsoft.com/office/drawing/2014/main" id="{7765A3D0-C61E-B78E-81F4-84847A7716E0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353996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3" name="Frame 39539.png" descr="Frame 39539.png">
            <a:extLst>
              <a:ext uri="{FF2B5EF4-FFF2-40B4-BE49-F238E27FC236}">
                <a16:creationId xmlns:a16="http://schemas.microsoft.com/office/drawing/2014/main" id="{BB88F7EF-A768-77C1-2B5C-5F962A5FEF81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81941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4" name="Frame 39540.png" descr="Frame 39540.png">
            <a:extLst>
              <a:ext uri="{FF2B5EF4-FFF2-40B4-BE49-F238E27FC236}">
                <a16:creationId xmlns:a16="http://schemas.microsoft.com/office/drawing/2014/main" id="{AA6BDBAF-B557-8390-059F-B968A0AAE643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275025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5" name="Frame 39541.png" descr="Frame 39541.png">
            <a:extLst>
              <a:ext uri="{FF2B5EF4-FFF2-40B4-BE49-F238E27FC236}">
                <a16:creationId xmlns:a16="http://schemas.microsoft.com/office/drawing/2014/main" id="{059C69F5-E447-3B8A-E090-14DE50AB7431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21567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6" name="Frame 39542.png" descr="Frame 39542.png">
            <a:extLst>
              <a:ext uri="{FF2B5EF4-FFF2-40B4-BE49-F238E27FC236}">
                <a16:creationId xmlns:a16="http://schemas.microsoft.com/office/drawing/2014/main" id="{DF9B2605-DF47-4F23-6681-1EDB3B4BB66A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68109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7" name="Frame 39517.png" descr="Frame 39517.png">
            <a:extLst>
              <a:ext uri="{FF2B5EF4-FFF2-40B4-BE49-F238E27FC236}">
                <a16:creationId xmlns:a16="http://schemas.microsoft.com/office/drawing/2014/main" id="{76A019D0-82AF-B792-94F2-19E78C625A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651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8" name="Frame 39544.png" descr="Frame 39544.png">
            <a:extLst>
              <a:ext uri="{FF2B5EF4-FFF2-40B4-BE49-F238E27FC236}">
                <a16:creationId xmlns:a16="http://schemas.microsoft.com/office/drawing/2014/main" id="{3551DBCA-149B-CBEF-AA4E-721084CDDAF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61193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9" name="Frame 39545.png" descr="Frame 39545.png">
            <a:extLst>
              <a:ext uri="{FF2B5EF4-FFF2-40B4-BE49-F238E27FC236}">
                <a16:creationId xmlns:a16="http://schemas.microsoft.com/office/drawing/2014/main" id="{3756B178-15F1-043B-D5DE-77ECC9E3A555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507735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0" name="Frame 39546.png" descr="Frame 39546.png">
            <a:extLst>
              <a:ext uri="{FF2B5EF4-FFF2-40B4-BE49-F238E27FC236}">
                <a16:creationId xmlns:a16="http://schemas.microsoft.com/office/drawing/2014/main" id="{A14A87EC-B620-F2DB-BFFC-5E6ED8F0B15A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554277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1" name="Frame 39547.png" descr="Frame 39547.png">
            <a:extLst>
              <a:ext uri="{FF2B5EF4-FFF2-40B4-BE49-F238E27FC236}">
                <a16:creationId xmlns:a16="http://schemas.microsoft.com/office/drawing/2014/main" id="{535AE7D5-32EE-8F9D-82DC-A455ABB48443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00819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2" name="Frame 39548.png" descr="Frame 39548.png">
            <a:extLst>
              <a:ext uri="{FF2B5EF4-FFF2-40B4-BE49-F238E27FC236}">
                <a16:creationId xmlns:a16="http://schemas.microsoft.com/office/drawing/2014/main" id="{AF67A848-D696-EF5A-46ED-6A2046333B7E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93903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3" name="Frame 39549.png" descr="Frame 39549.png">
            <a:extLst>
              <a:ext uri="{FF2B5EF4-FFF2-40B4-BE49-F238E27FC236}">
                <a16:creationId xmlns:a16="http://schemas.microsoft.com/office/drawing/2014/main" id="{33752F6F-2BCF-625F-DB9C-9C62453A5B1F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740445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4" name="Frame 39550.png" descr="Frame 39550.png">
            <a:extLst>
              <a:ext uri="{FF2B5EF4-FFF2-40B4-BE49-F238E27FC236}">
                <a16:creationId xmlns:a16="http://schemas.microsoft.com/office/drawing/2014/main" id="{CE6C5E16-5CB2-EBE9-EA64-A81661190305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7869879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5" name="Frame 39551.png" descr="Frame 39551.png">
            <a:extLst>
              <a:ext uri="{FF2B5EF4-FFF2-40B4-BE49-F238E27FC236}">
                <a16:creationId xmlns:a16="http://schemas.microsoft.com/office/drawing/2014/main" id="{B51A34EC-FE16-A494-5F91-C5B1BBC527C7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740445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6" name="Frame 39552.png" descr="Frame 39552.png">
            <a:extLst>
              <a:ext uri="{FF2B5EF4-FFF2-40B4-BE49-F238E27FC236}">
                <a16:creationId xmlns:a16="http://schemas.microsoft.com/office/drawing/2014/main" id="{CC566BA2-D037-BA2F-31B3-C92BAD8BAE5A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23156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7" name="Frame 39553.png" descr="Frame 39553.png">
            <a:extLst>
              <a:ext uri="{FF2B5EF4-FFF2-40B4-BE49-F238E27FC236}">
                <a16:creationId xmlns:a16="http://schemas.microsoft.com/office/drawing/2014/main" id="{E6065FF6-CB5C-ACDA-387D-CEB6A93DFD6A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888576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8" name="Frame 39555.png" descr="Frame 39555.png">
            <a:extLst>
              <a:ext uri="{FF2B5EF4-FFF2-40B4-BE49-F238E27FC236}">
                <a16:creationId xmlns:a16="http://schemas.microsoft.com/office/drawing/2014/main" id="{04D9C929-1C91-DBCD-4689-5738822D043A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879702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9" name="Frame 39556.png" descr="Frame 39556.png">
            <a:extLst>
              <a:ext uri="{FF2B5EF4-FFF2-40B4-BE49-F238E27FC236}">
                <a16:creationId xmlns:a16="http://schemas.microsoft.com/office/drawing/2014/main" id="{2DAF617C-D135-47EC-4C4B-065CD0A75908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353996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0" name="Frame 39557.png" descr="Frame 39557.png">
            <a:extLst>
              <a:ext uri="{FF2B5EF4-FFF2-40B4-BE49-F238E27FC236}">
                <a16:creationId xmlns:a16="http://schemas.microsoft.com/office/drawing/2014/main" id="{F93A661E-FBCD-CB28-001C-9F3331EE89AB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81941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1" name="Frame 39558.png" descr="Frame 39558.png">
            <a:extLst>
              <a:ext uri="{FF2B5EF4-FFF2-40B4-BE49-F238E27FC236}">
                <a16:creationId xmlns:a16="http://schemas.microsoft.com/office/drawing/2014/main" id="{2DEABE3F-1AD4-CFC0-34DE-56288B8BB1E2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228483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2" name="Frame 39559.png" descr="Frame 39559.png">
            <a:extLst>
              <a:ext uri="{FF2B5EF4-FFF2-40B4-BE49-F238E27FC236}">
                <a16:creationId xmlns:a16="http://schemas.microsoft.com/office/drawing/2014/main" id="{45B98855-A1A5-0070-C893-1306A8879FFE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275025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3" name="Frame 39560.png" descr="Frame 39560.png">
            <a:extLst>
              <a:ext uri="{FF2B5EF4-FFF2-40B4-BE49-F238E27FC236}">
                <a16:creationId xmlns:a16="http://schemas.microsoft.com/office/drawing/2014/main" id="{100E7961-753D-5E6A-366C-163B1C786872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321567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4" name="Frame 39561.png" descr="Frame 39561.png">
            <a:extLst>
              <a:ext uri="{FF2B5EF4-FFF2-40B4-BE49-F238E27FC236}">
                <a16:creationId xmlns:a16="http://schemas.microsoft.com/office/drawing/2014/main" id="{95272698-999E-49B3-3724-4309BC5E7EFA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414651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5" name="Frame 39562.png" descr="Frame 39562.png">
            <a:extLst>
              <a:ext uri="{FF2B5EF4-FFF2-40B4-BE49-F238E27FC236}">
                <a16:creationId xmlns:a16="http://schemas.microsoft.com/office/drawing/2014/main" id="{F07924E3-F99F-199A-8921-E64636F31C1A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461193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6" name="Frame 39563.png" descr="Frame 39563.png">
            <a:extLst>
              <a:ext uri="{FF2B5EF4-FFF2-40B4-BE49-F238E27FC236}">
                <a16:creationId xmlns:a16="http://schemas.microsoft.com/office/drawing/2014/main" id="{FAB5D383-BE92-4932-0286-7F729A611B30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368109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7" name="Frame 39564.png" descr="Frame 39564.png">
            <a:extLst>
              <a:ext uri="{FF2B5EF4-FFF2-40B4-BE49-F238E27FC236}">
                <a16:creationId xmlns:a16="http://schemas.microsoft.com/office/drawing/2014/main" id="{477638A9-20A2-D959-4A82-71297A7180F7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507735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8" name="Frame 39565.png" descr="Frame 39565.png">
            <a:extLst>
              <a:ext uri="{FF2B5EF4-FFF2-40B4-BE49-F238E27FC236}">
                <a16:creationId xmlns:a16="http://schemas.microsoft.com/office/drawing/2014/main" id="{90CECF7A-5A64-F3AC-F5A5-6A47D914D5FA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554277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9" name="Frame 39566.png" descr="Frame 39566.png">
            <a:extLst>
              <a:ext uri="{FF2B5EF4-FFF2-40B4-BE49-F238E27FC236}">
                <a16:creationId xmlns:a16="http://schemas.microsoft.com/office/drawing/2014/main" id="{3CFA25BE-942E-5E5F-355B-0F546539681E}"/>
              </a:ext>
            </a:extLst>
          </p:cNvPr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600819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0" name="Frame 39567.png" descr="Frame 39567.png">
            <a:extLst>
              <a:ext uri="{FF2B5EF4-FFF2-40B4-BE49-F238E27FC236}">
                <a16:creationId xmlns:a16="http://schemas.microsoft.com/office/drawing/2014/main" id="{592C8833-1EA0-A627-90CB-A7349074520B}"/>
              </a:ext>
            </a:extLst>
          </p:cNvPr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693903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1" name="Frame 39568.png" descr="Frame 39568.png">
            <a:extLst>
              <a:ext uri="{FF2B5EF4-FFF2-40B4-BE49-F238E27FC236}">
                <a16:creationId xmlns:a16="http://schemas.microsoft.com/office/drawing/2014/main" id="{DF1B188D-A0C7-12C6-1C2B-8EAB04B06668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6473619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2" name="Frame 39569.png" descr="Frame 39569.png">
            <a:extLst>
              <a:ext uri="{FF2B5EF4-FFF2-40B4-BE49-F238E27FC236}">
                <a16:creationId xmlns:a16="http://schemas.microsoft.com/office/drawing/2014/main" id="{FE34F88C-BFD2-AA27-885A-2FA2A1328513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7869879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3" name="Frame 39570.png" descr="Frame 39570.png">
            <a:extLst>
              <a:ext uri="{FF2B5EF4-FFF2-40B4-BE49-F238E27FC236}">
                <a16:creationId xmlns:a16="http://schemas.microsoft.com/office/drawing/2014/main" id="{4E04A825-58F6-2935-6C5E-4E4DB0D9A94B}"/>
              </a:ext>
            </a:extLst>
          </p:cNvPr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5886388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4" name="Frame 39554.png" descr="Frame 39554.png">
            <a:extLst>
              <a:ext uri="{FF2B5EF4-FFF2-40B4-BE49-F238E27FC236}">
                <a16:creationId xmlns:a16="http://schemas.microsoft.com/office/drawing/2014/main" id="{3B9BCCBB-5DCF-A75E-82B3-B0EBB4E46DFC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4174761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5" name="Frame 39572.png" descr="Frame 39572.png">
            <a:extLst>
              <a:ext uri="{FF2B5EF4-FFF2-40B4-BE49-F238E27FC236}">
                <a16:creationId xmlns:a16="http://schemas.microsoft.com/office/drawing/2014/main" id="{050C3999-F0ED-6485-845A-CC75EB5161E5}"/>
              </a:ext>
            </a:extLst>
          </p:cNvPr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1401069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6" name="Frame 39573.png" descr="Frame 39573.png">
            <a:extLst>
              <a:ext uri="{FF2B5EF4-FFF2-40B4-BE49-F238E27FC236}">
                <a16:creationId xmlns:a16="http://schemas.microsoft.com/office/drawing/2014/main" id="{28A288A6-AD0A-9524-809E-968E0A2213BE}"/>
              </a:ext>
            </a:extLst>
          </p:cNvPr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938786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7" name="Frame 39574.png" descr="Frame 39574.png">
            <a:extLst>
              <a:ext uri="{FF2B5EF4-FFF2-40B4-BE49-F238E27FC236}">
                <a16:creationId xmlns:a16="http://schemas.microsoft.com/office/drawing/2014/main" id="{840E165B-9C1C-5964-09D6-2FF896635053}"/>
              </a:ext>
            </a:extLst>
          </p:cNvPr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1863351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8" name="Frame 39575.png" descr="Frame 39575.png">
            <a:extLst>
              <a:ext uri="{FF2B5EF4-FFF2-40B4-BE49-F238E27FC236}">
                <a16:creationId xmlns:a16="http://schemas.microsoft.com/office/drawing/2014/main" id="{F972BB7A-9297-769A-70BD-7A442DC8F8FD}"/>
              </a:ext>
            </a:extLst>
          </p:cNvPr>
          <p:cNvPicPr>
            <a:picLocks noChangeAspect="1"/>
          </p:cNvPicPr>
          <p:nvPr/>
        </p:nvPicPr>
        <p:blipFill>
          <a:blip r:embed="rId63"/>
          <a:stretch>
            <a:fillRect/>
          </a:stretch>
        </p:blipFill>
        <p:spPr>
          <a:xfrm>
            <a:off x="2787915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9" name="Frame 39576.png" descr="Frame 39576.png">
            <a:extLst>
              <a:ext uri="{FF2B5EF4-FFF2-40B4-BE49-F238E27FC236}">
                <a16:creationId xmlns:a16="http://schemas.microsoft.com/office/drawing/2014/main" id="{BBFEF129-DC21-FA69-CEA0-D687D3C0BB14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2325633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0" name="Frame 39577.png" descr="Frame 39577.png">
            <a:extLst>
              <a:ext uri="{FF2B5EF4-FFF2-40B4-BE49-F238E27FC236}">
                <a16:creationId xmlns:a16="http://schemas.microsoft.com/office/drawing/2014/main" id="{5E453981-DD38-6114-9F83-4722C5EE7EA8}"/>
              </a:ext>
            </a:extLst>
          </p:cNvPr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3250196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1" name="Frame 39578.png" descr="Frame 39578.png">
            <a:extLst>
              <a:ext uri="{FF2B5EF4-FFF2-40B4-BE49-F238E27FC236}">
                <a16:creationId xmlns:a16="http://schemas.microsoft.com/office/drawing/2014/main" id="{48E8AEE5-3E22-B97B-CEFC-A895BAACBFAC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3712478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2" name="Frame 39579.png" descr="Frame 39579.png">
            <a:extLst>
              <a:ext uri="{FF2B5EF4-FFF2-40B4-BE49-F238E27FC236}">
                <a16:creationId xmlns:a16="http://schemas.microsoft.com/office/drawing/2014/main" id="{19701117-57F0-CA32-DDCA-A18728FFD790}"/>
              </a:ext>
            </a:extLst>
          </p:cNvPr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321567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3" name="Frame 39580.png" descr="Frame 39580.png">
            <a:extLst>
              <a:ext uri="{FF2B5EF4-FFF2-40B4-BE49-F238E27FC236}">
                <a16:creationId xmlns:a16="http://schemas.microsoft.com/office/drawing/2014/main" id="{576B4D48-4F53-3D60-9DDE-8A7457DE080F}"/>
              </a:ext>
            </a:extLst>
          </p:cNvPr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919814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4" name="Frame 39581.png" descr="Frame 39581.png">
            <a:extLst>
              <a:ext uri="{FF2B5EF4-FFF2-40B4-BE49-F238E27FC236}">
                <a16:creationId xmlns:a16="http://schemas.microsoft.com/office/drawing/2014/main" id="{90864A93-A317-687D-2912-13A4E210486E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423156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5" name="Frame 39582.png" descr="Frame 39582.png">
            <a:extLst>
              <a:ext uri="{FF2B5EF4-FFF2-40B4-BE49-F238E27FC236}">
                <a16:creationId xmlns:a16="http://schemas.microsoft.com/office/drawing/2014/main" id="{92777C81-4049-7BB3-3217-E139B1D9D933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5561607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6" name="Frame 39583.png" descr="Frame 39583.png">
            <a:extLst>
              <a:ext uri="{FF2B5EF4-FFF2-40B4-BE49-F238E27FC236}">
                <a16:creationId xmlns:a16="http://schemas.microsoft.com/office/drawing/2014/main" id="{4494D24A-FA33-B6E5-B620-59FB57BBF821}"/>
              </a:ext>
            </a:extLst>
          </p:cNvPr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5099325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7" name="Frame 39584.png" descr="Frame 39584.png">
            <a:extLst>
              <a:ext uri="{FF2B5EF4-FFF2-40B4-BE49-F238E27FC236}">
                <a16:creationId xmlns:a16="http://schemas.microsoft.com/office/drawing/2014/main" id="{6011066A-8EEC-7EA1-2658-08CE214614AF}"/>
              </a:ext>
            </a:extLst>
          </p:cNvPr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321567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8" name="Frame 39585.png" descr="Frame 39585.png">
            <a:extLst>
              <a:ext uri="{FF2B5EF4-FFF2-40B4-BE49-F238E27FC236}">
                <a16:creationId xmlns:a16="http://schemas.microsoft.com/office/drawing/2014/main" id="{18E02EB5-2AA2-9E8D-A335-432DAD3BAFAD}"/>
              </a:ext>
            </a:extLst>
          </p:cNvPr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600819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9" name="Frame 39586.png" descr="Frame 39586.png">
            <a:extLst>
              <a:ext uri="{FF2B5EF4-FFF2-40B4-BE49-F238E27FC236}">
                <a16:creationId xmlns:a16="http://schemas.microsoft.com/office/drawing/2014/main" id="{E1989E3A-5020-9B7E-5CCA-F9D4565C9A2E}"/>
              </a:ext>
            </a:extLst>
          </p:cNvPr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3899758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0" name="Frame 39587.png" descr="Frame 39587.png">
            <a:extLst>
              <a:ext uri="{FF2B5EF4-FFF2-40B4-BE49-F238E27FC236}">
                <a16:creationId xmlns:a16="http://schemas.microsoft.com/office/drawing/2014/main" id="{518F8745-FBA6-9D3C-5EF6-578736B2A521}"/>
              </a:ext>
            </a:extLst>
          </p:cNvPr>
          <p:cNvPicPr>
            <a:picLocks noChangeAspect="1"/>
          </p:cNvPicPr>
          <p:nvPr/>
        </p:nvPicPr>
        <p:blipFill>
          <a:blip r:embed="rId75"/>
          <a:stretch>
            <a:fillRect/>
          </a:stretch>
        </p:blipFill>
        <p:spPr>
          <a:xfrm>
            <a:off x="228483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1" name="Frame 39588.png" descr="Frame 39588.png">
            <a:extLst>
              <a:ext uri="{FF2B5EF4-FFF2-40B4-BE49-F238E27FC236}">
                <a16:creationId xmlns:a16="http://schemas.microsoft.com/office/drawing/2014/main" id="{EAAA05EF-4F99-5532-97E7-8371E8B664D7}"/>
              </a:ext>
            </a:extLst>
          </p:cNvPr>
          <p:cNvPicPr>
            <a:picLocks noChangeAspect="1"/>
          </p:cNvPicPr>
          <p:nvPr/>
        </p:nvPicPr>
        <p:blipFill>
          <a:blip r:embed="rId76"/>
          <a:stretch>
            <a:fillRect/>
          </a:stretch>
        </p:blipFill>
        <p:spPr>
          <a:xfrm>
            <a:off x="7873017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2" name="Frame 39589.png" descr="Frame 39589.png">
            <a:extLst>
              <a:ext uri="{FF2B5EF4-FFF2-40B4-BE49-F238E27FC236}">
                <a16:creationId xmlns:a16="http://schemas.microsoft.com/office/drawing/2014/main" id="{C0167CBB-3DA1-D6BA-0251-FAF2DAC5AFFF}"/>
              </a:ext>
            </a:extLst>
          </p:cNvPr>
          <p:cNvPicPr>
            <a:picLocks noChangeAspect="1"/>
          </p:cNvPicPr>
          <p:nvPr/>
        </p:nvPicPr>
        <p:blipFill>
          <a:blip r:embed="rId77"/>
          <a:stretch>
            <a:fillRect/>
          </a:stretch>
        </p:blipFill>
        <p:spPr>
          <a:xfrm>
            <a:off x="6473619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3" name="Frame 39590.png" descr="Frame 39590.png">
            <a:extLst>
              <a:ext uri="{FF2B5EF4-FFF2-40B4-BE49-F238E27FC236}">
                <a16:creationId xmlns:a16="http://schemas.microsoft.com/office/drawing/2014/main" id="{CFAA2915-5677-7222-EDA6-3DCF282F792E}"/>
              </a:ext>
            </a:extLst>
          </p:cNvPr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4637043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4" name="Frame 39591.png" descr="Frame 39591.png">
            <a:extLst>
              <a:ext uri="{FF2B5EF4-FFF2-40B4-BE49-F238E27FC236}">
                <a16:creationId xmlns:a16="http://schemas.microsoft.com/office/drawing/2014/main" id="{367DAC4D-0494-AC07-E72E-E70F3DBFE58E}"/>
              </a:ext>
            </a:extLst>
          </p:cNvPr>
          <p:cNvPicPr>
            <a:picLocks noChangeAspect="1"/>
          </p:cNvPicPr>
          <p:nvPr/>
        </p:nvPicPr>
        <p:blipFill>
          <a:blip r:embed="rId79"/>
          <a:stretch>
            <a:fillRect/>
          </a:stretch>
        </p:blipFill>
        <p:spPr>
          <a:xfrm>
            <a:off x="228483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5" name="Frame 39592.png" descr="Frame 39592.png">
            <a:extLst>
              <a:ext uri="{FF2B5EF4-FFF2-40B4-BE49-F238E27FC236}">
                <a16:creationId xmlns:a16="http://schemas.microsoft.com/office/drawing/2014/main" id="{3C44BC8C-AACC-3494-934D-0A1F70258CD7}"/>
              </a:ext>
            </a:extLst>
          </p:cNvPr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61193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6" name="Frame 39593.png" descr="Frame 39593.png">
            <a:extLst>
              <a:ext uri="{FF2B5EF4-FFF2-40B4-BE49-F238E27FC236}">
                <a16:creationId xmlns:a16="http://schemas.microsoft.com/office/drawing/2014/main" id="{622A84DE-03C7-D6A9-0AD2-7148BF2C479B}"/>
              </a:ext>
            </a:extLst>
          </p:cNvPr>
          <p:cNvPicPr>
            <a:picLocks noChangeAspect="1"/>
          </p:cNvPicPr>
          <p:nvPr/>
        </p:nvPicPr>
        <p:blipFill>
          <a:blip r:embed="rId81"/>
          <a:stretch>
            <a:fillRect/>
          </a:stretch>
        </p:blipFill>
        <p:spPr>
          <a:xfrm>
            <a:off x="3403100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7" name="Frame 39594.png" descr="Frame 39594.png">
            <a:extLst>
              <a:ext uri="{FF2B5EF4-FFF2-40B4-BE49-F238E27FC236}">
                <a16:creationId xmlns:a16="http://schemas.microsoft.com/office/drawing/2014/main" id="{97CAA189-C9A2-DF6F-31C4-22297EBCB739}"/>
              </a:ext>
            </a:extLst>
          </p:cNvPr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181941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8" name="Frame 39595.png" descr="Frame 39595.png">
            <a:extLst>
              <a:ext uri="{FF2B5EF4-FFF2-40B4-BE49-F238E27FC236}">
                <a16:creationId xmlns:a16="http://schemas.microsoft.com/office/drawing/2014/main" id="{A841A707-DD1D-F752-0BA0-37E22491302F}"/>
              </a:ext>
            </a:extLst>
          </p:cNvPr>
          <p:cNvPicPr>
            <a:picLocks noChangeAspect="1"/>
          </p:cNvPicPr>
          <p:nvPr/>
        </p:nvPicPr>
        <p:blipFill>
          <a:blip r:embed="rId83"/>
          <a:stretch>
            <a:fillRect/>
          </a:stretch>
        </p:blipFill>
        <p:spPr>
          <a:xfrm>
            <a:off x="7873017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9" name="Frame 39596.png" descr="Frame 39596.png">
            <a:extLst>
              <a:ext uri="{FF2B5EF4-FFF2-40B4-BE49-F238E27FC236}">
                <a16:creationId xmlns:a16="http://schemas.microsoft.com/office/drawing/2014/main" id="{AD992964-14F0-212D-26CB-E4C6078D50EA}"/>
              </a:ext>
            </a:extLst>
          </p:cNvPr>
          <p:cNvPicPr>
            <a:picLocks noChangeAspect="1"/>
          </p:cNvPicPr>
          <p:nvPr/>
        </p:nvPicPr>
        <p:blipFill>
          <a:blip r:embed="rId84"/>
          <a:stretch>
            <a:fillRect/>
          </a:stretch>
        </p:blipFill>
        <p:spPr>
          <a:xfrm>
            <a:off x="554277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0" name="Frame 39597.png" descr="Frame 39597.png">
            <a:extLst>
              <a:ext uri="{FF2B5EF4-FFF2-40B4-BE49-F238E27FC236}">
                <a16:creationId xmlns:a16="http://schemas.microsoft.com/office/drawing/2014/main" id="{BC95F0CA-2ECB-A505-53A0-BFB90334F29C}"/>
              </a:ext>
            </a:extLst>
          </p:cNvPr>
          <p:cNvPicPr>
            <a:picLocks noChangeAspect="1"/>
          </p:cNvPicPr>
          <p:nvPr/>
        </p:nvPicPr>
        <p:blipFill>
          <a:blip r:embed="rId85"/>
          <a:stretch>
            <a:fillRect/>
          </a:stretch>
        </p:blipFill>
        <p:spPr>
          <a:xfrm>
            <a:off x="423156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1" name="Frame 39598.png" descr="Frame 39598.png">
            <a:extLst>
              <a:ext uri="{FF2B5EF4-FFF2-40B4-BE49-F238E27FC236}">
                <a16:creationId xmlns:a16="http://schemas.microsoft.com/office/drawing/2014/main" id="{CB368118-5445-5486-E4CC-9B868BD75D99}"/>
              </a:ext>
            </a:extLst>
          </p:cNvPr>
          <p:cNvPicPr>
            <a:picLocks noChangeAspect="1"/>
          </p:cNvPicPr>
          <p:nvPr/>
        </p:nvPicPr>
        <p:blipFill>
          <a:blip r:embed="rId86"/>
          <a:stretch>
            <a:fillRect/>
          </a:stretch>
        </p:blipFill>
        <p:spPr>
          <a:xfrm>
            <a:off x="7410735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2" name="Frame 39599.png" descr="Frame 39599.png">
            <a:extLst>
              <a:ext uri="{FF2B5EF4-FFF2-40B4-BE49-F238E27FC236}">
                <a16:creationId xmlns:a16="http://schemas.microsoft.com/office/drawing/2014/main" id="{3F2115EA-565A-FA3E-6A36-A7440F88A1D7}"/>
              </a:ext>
            </a:extLst>
          </p:cNvPr>
          <p:cNvPicPr>
            <a:picLocks noChangeAspect="1"/>
          </p:cNvPicPr>
          <p:nvPr/>
        </p:nvPicPr>
        <p:blipFill>
          <a:blip r:embed="rId87"/>
          <a:stretch>
            <a:fillRect/>
          </a:stretch>
        </p:blipFill>
        <p:spPr>
          <a:xfrm>
            <a:off x="554277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3" name="Frame 39600.png" descr="Frame 39600.png">
            <a:extLst>
              <a:ext uri="{FF2B5EF4-FFF2-40B4-BE49-F238E27FC236}">
                <a16:creationId xmlns:a16="http://schemas.microsoft.com/office/drawing/2014/main" id="{AF381B40-2F75-181F-18C9-0F14CB88FC23}"/>
              </a:ext>
            </a:extLst>
          </p:cNvPr>
          <p:cNvPicPr>
            <a:picLocks noChangeAspect="1"/>
          </p:cNvPicPr>
          <p:nvPr/>
        </p:nvPicPr>
        <p:blipFill>
          <a:blip r:embed="rId88"/>
          <a:stretch>
            <a:fillRect/>
          </a:stretch>
        </p:blipFill>
        <p:spPr>
          <a:xfrm>
            <a:off x="2906443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4" name="Frame 39601.png" descr="Frame 39601.png">
            <a:extLst>
              <a:ext uri="{FF2B5EF4-FFF2-40B4-BE49-F238E27FC236}">
                <a16:creationId xmlns:a16="http://schemas.microsoft.com/office/drawing/2014/main" id="{DF96AA0D-84CC-5362-0511-28E8ECA1BE9D}"/>
              </a:ext>
            </a:extLst>
          </p:cNvPr>
          <p:cNvPicPr>
            <a:picLocks noChangeAspect="1"/>
          </p:cNvPicPr>
          <p:nvPr/>
        </p:nvPicPr>
        <p:blipFill>
          <a:blip r:embed="rId89"/>
          <a:stretch>
            <a:fillRect/>
          </a:stretch>
        </p:blipFill>
        <p:spPr>
          <a:xfrm>
            <a:off x="1353996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5" name="Frame 39602.png" descr="Frame 39602.png">
            <a:extLst>
              <a:ext uri="{FF2B5EF4-FFF2-40B4-BE49-F238E27FC236}">
                <a16:creationId xmlns:a16="http://schemas.microsoft.com/office/drawing/2014/main" id="{B1E9C1A5-C0C0-B901-B6B1-462E6EAC148C}"/>
              </a:ext>
            </a:extLst>
          </p:cNvPr>
          <p:cNvPicPr>
            <a:picLocks noChangeAspect="1"/>
          </p:cNvPicPr>
          <p:nvPr/>
        </p:nvPicPr>
        <p:blipFill>
          <a:blip r:embed="rId90"/>
          <a:stretch>
            <a:fillRect/>
          </a:stretch>
        </p:blipFill>
        <p:spPr>
          <a:xfrm>
            <a:off x="6948453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6" name="Frame 39603.png" descr="Frame 39603.png">
            <a:extLst>
              <a:ext uri="{FF2B5EF4-FFF2-40B4-BE49-F238E27FC236}">
                <a16:creationId xmlns:a16="http://schemas.microsoft.com/office/drawing/2014/main" id="{201DCBB1-C479-5718-45E8-314DED6F4DA7}"/>
              </a:ext>
            </a:extLst>
          </p:cNvPr>
          <p:cNvPicPr>
            <a:picLocks noChangeAspect="1"/>
          </p:cNvPicPr>
          <p:nvPr/>
        </p:nvPicPr>
        <p:blipFill>
          <a:blip r:embed="rId91"/>
          <a:stretch>
            <a:fillRect/>
          </a:stretch>
        </p:blipFill>
        <p:spPr>
          <a:xfrm>
            <a:off x="600819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7" name="Frame 39604.png" descr="Frame 39604.png">
            <a:extLst>
              <a:ext uri="{FF2B5EF4-FFF2-40B4-BE49-F238E27FC236}">
                <a16:creationId xmlns:a16="http://schemas.microsoft.com/office/drawing/2014/main" id="{1ADDA303-2A3D-37A8-5684-766F4C63ECBB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740445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8" name="Frame 39605.png" descr="Frame 39605.png">
            <a:extLst>
              <a:ext uri="{FF2B5EF4-FFF2-40B4-BE49-F238E27FC236}">
                <a16:creationId xmlns:a16="http://schemas.microsoft.com/office/drawing/2014/main" id="{D97917B1-7033-16AA-B41D-F41DFB9146B5}"/>
              </a:ext>
            </a:extLst>
          </p:cNvPr>
          <p:cNvPicPr>
            <a:picLocks noChangeAspect="1"/>
          </p:cNvPicPr>
          <p:nvPr/>
        </p:nvPicPr>
        <p:blipFill>
          <a:blip r:embed="rId93"/>
          <a:stretch>
            <a:fillRect/>
          </a:stretch>
        </p:blipFill>
        <p:spPr>
          <a:xfrm>
            <a:off x="275025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9" name="Frame 39606.png" descr="Frame 39606.png">
            <a:extLst>
              <a:ext uri="{FF2B5EF4-FFF2-40B4-BE49-F238E27FC236}">
                <a16:creationId xmlns:a16="http://schemas.microsoft.com/office/drawing/2014/main" id="{A068C20A-57A2-B64E-B2E5-4E984EB1E51B}"/>
              </a:ext>
            </a:extLst>
          </p:cNvPr>
          <p:cNvPicPr>
            <a:picLocks noChangeAspect="1"/>
          </p:cNvPicPr>
          <p:nvPr/>
        </p:nvPicPr>
        <p:blipFill>
          <a:blip r:embed="rId94"/>
          <a:stretch>
            <a:fillRect/>
          </a:stretch>
        </p:blipFill>
        <p:spPr>
          <a:xfrm>
            <a:off x="507735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0" name="Frame 39607.png" descr="Frame 39607.png">
            <a:extLst>
              <a:ext uri="{FF2B5EF4-FFF2-40B4-BE49-F238E27FC236}">
                <a16:creationId xmlns:a16="http://schemas.microsoft.com/office/drawing/2014/main" id="{2F067E28-9472-18A7-E703-504E0405198D}"/>
              </a:ext>
            </a:extLst>
          </p:cNvPr>
          <p:cNvPicPr>
            <a:picLocks noChangeAspect="1"/>
          </p:cNvPicPr>
          <p:nvPr/>
        </p:nvPicPr>
        <p:blipFill>
          <a:blip r:embed="rId95"/>
          <a:stretch>
            <a:fillRect/>
          </a:stretch>
        </p:blipFill>
        <p:spPr>
          <a:xfrm>
            <a:off x="2409786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1" name="Frame 39608.png" descr="Frame 39608.png">
            <a:extLst>
              <a:ext uri="{FF2B5EF4-FFF2-40B4-BE49-F238E27FC236}">
                <a16:creationId xmlns:a16="http://schemas.microsoft.com/office/drawing/2014/main" id="{368B9968-BD7D-5942-A860-B18B5DB4D93D}"/>
              </a:ext>
            </a:extLst>
          </p:cNvPr>
          <p:cNvPicPr>
            <a:picLocks noChangeAspect="1"/>
          </p:cNvPicPr>
          <p:nvPr/>
        </p:nvPicPr>
        <p:blipFill>
          <a:blip r:embed="rId96"/>
          <a:stretch>
            <a:fillRect/>
          </a:stretch>
        </p:blipFill>
        <p:spPr>
          <a:xfrm>
            <a:off x="888576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2" name="Frame 39609.png" descr="Frame 39609.png">
            <a:extLst>
              <a:ext uri="{FF2B5EF4-FFF2-40B4-BE49-F238E27FC236}">
                <a16:creationId xmlns:a16="http://schemas.microsoft.com/office/drawing/2014/main" id="{70826AF1-5EFE-3277-0577-37F775A4C5B7}"/>
              </a:ext>
            </a:extLst>
          </p:cNvPr>
          <p:cNvPicPr>
            <a:picLocks noChangeAspect="1"/>
          </p:cNvPicPr>
          <p:nvPr/>
        </p:nvPicPr>
        <p:blipFill>
          <a:blip r:embed="rId97"/>
          <a:stretch>
            <a:fillRect/>
          </a:stretch>
        </p:blipFill>
        <p:spPr>
          <a:xfrm>
            <a:off x="6023889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3" name="Frame 39610.png" descr="Frame 39610.png">
            <a:extLst>
              <a:ext uri="{FF2B5EF4-FFF2-40B4-BE49-F238E27FC236}">
                <a16:creationId xmlns:a16="http://schemas.microsoft.com/office/drawing/2014/main" id="{85EC11B1-B838-6F05-87C1-6C4AE8230074}"/>
              </a:ext>
            </a:extLst>
          </p:cNvPr>
          <p:cNvPicPr>
            <a:picLocks noChangeAspect="1"/>
          </p:cNvPicPr>
          <p:nvPr/>
        </p:nvPicPr>
        <p:blipFill>
          <a:blip r:embed="rId98"/>
          <a:stretch>
            <a:fillRect/>
          </a:stretch>
        </p:blipFill>
        <p:spPr>
          <a:xfrm>
            <a:off x="461193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4" name="Frame 39611.png" descr="Frame 39611.png">
            <a:extLst>
              <a:ext uri="{FF2B5EF4-FFF2-40B4-BE49-F238E27FC236}">
                <a16:creationId xmlns:a16="http://schemas.microsoft.com/office/drawing/2014/main" id="{12B2B888-CF79-A1EE-B565-0C8775718F5F}"/>
              </a:ext>
            </a:extLst>
          </p:cNvPr>
          <p:cNvPicPr>
            <a:picLocks noChangeAspect="1"/>
          </p:cNvPicPr>
          <p:nvPr/>
        </p:nvPicPr>
        <p:blipFill>
          <a:blip r:embed="rId99"/>
          <a:stretch>
            <a:fillRect/>
          </a:stretch>
        </p:blipFill>
        <p:spPr>
          <a:xfrm>
            <a:off x="7869879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5" name="Frame 39612.png" descr="Frame 39612.png">
            <a:extLst>
              <a:ext uri="{FF2B5EF4-FFF2-40B4-BE49-F238E27FC236}">
                <a16:creationId xmlns:a16="http://schemas.microsoft.com/office/drawing/2014/main" id="{074721BA-B480-D83F-3134-3312A3F0262C}"/>
              </a:ext>
            </a:extLst>
          </p:cNvPr>
          <p:cNvPicPr>
            <a:picLocks noChangeAspect="1"/>
          </p:cNvPicPr>
          <p:nvPr/>
        </p:nvPicPr>
        <p:blipFill>
          <a:blip r:embed="rId100"/>
          <a:stretch>
            <a:fillRect/>
          </a:stretch>
        </p:blipFill>
        <p:spPr>
          <a:xfrm>
            <a:off x="181941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6" name="Frame 39613.png" descr="Frame 39613.png">
            <a:extLst>
              <a:ext uri="{FF2B5EF4-FFF2-40B4-BE49-F238E27FC236}">
                <a16:creationId xmlns:a16="http://schemas.microsoft.com/office/drawing/2014/main" id="{0F9A3259-0AA4-35F6-CF51-2A09C3ADE81C}"/>
              </a:ext>
            </a:extLst>
          </p:cNvPr>
          <p:cNvPicPr>
            <a:picLocks noChangeAspect="1"/>
          </p:cNvPicPr>
          <p:nvPr/>
        </p:nvPicPr>
        <p:blipFill>
          <a:blip r:embed="rId101"/>
          <a:stretch>
            <a:fillRect/>
          </a:stretch>
        </p:blipFill>
        <p:spPr>
          <a:xfrm>
            <a:off x="414651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7" name="Frame 39614.png" descr="Frame 39614.png">
            <a:extLst>
              <a:ext uri="{FF2B5EF4-FFF2-40B4-BE49-F238E27FC236}">
                <a16:creationId xmlns:a16="http://schemas.microsoft.com/office/drawing/2014/main" id="{3437097B-C448-11EB-4BDA-E803926C8AB0}"/>
              </a:ext>
            </a:extLst>
          </p:cNvPr>
          <p:cNvPicPr>
            <a:picLocks noChangeAspect="1"/>
          </p:cNvPicPr>
          <p:nvPr/>
        </p:nvPicPr>
        <p:blipFill>
          <a:blip r:embed="rId102"/>
          <a:stretch>
            <a:fillRect/>
          </a:stretch>
        </p:blipFill>
        <p:spPr>
          <a:xfrm>
            <a:off x="1913129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8" name="Frame 39615.png" descr="Frame 39615.png">
            <a:extLst>
              <a:ext uri="{FF2B5EF4-FFF2-40B4-BE49-F238E27FC236}">
                <a16:creationId xmlns:a16="http://schemas.microsoft.com/office/drawing/2014/main" id="{1F5D955D-C86B-E7A8-AA01-50468EDEDB55}"/>
              </a:ext>
            </a:extLst>
          </p:cNvPr>
          <p:cNvPicPr>
            <a:picLocks noChangeAspect="1"/>
          </p:cNvPicPr>
          <p:nvPr/>
        </p:nvPicPr>
        <p:blipFill>
          <a:blip r:embed="rId103"/>
          <a:stretch>
            <a:fillRect/>
          </a:stretch>
        </p:blipFill>
        <p:spPr>
          <a:xfrm>
            <a:off x="7376360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9" name="Frame 39616.png" descr="Frame 39616.png">
            <a:extLst>
              <a:ext uri="{FF2B5EF4-FFF2-40B4-BE49-F238E27FC236}">
                <a16:creationId xmlns:a16="http://schemas.microsoft.com/office/drawing/2014/main" id="{9C85ABB1-F346-0DCE-2FA1-EF2A013BE16B}"/>
              </a:ext>
            </a:extLst>
          </p:cNvPr>
          <p:cNvPicPr>
            <a:picLocks noChangeAspect="1"/>
          </p:cNvPicPr>
          <p:nvPr/>
        </p:nvPicPr>
        <p:blipFill>
          <a:blip r:embed="rId104"/>
          <a:stretch>
            <a:fillRect/>
          </a:stretch>
        </p:blipFill>
        <p:spPr>
          <a:xfrm>
            <a:off x="6486171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0" name="Frame 39617.png" descr="Frame 39617.png">
            <a:extLst>
              <a:ext uri="{FF2B5EF4-FFF2-40B4-BE49-F238E27FC236}">
                <a16:creationId xmlns:a16="http://schemas.microsoft.com/office/drawing/2014/main" id="{07156162-BB11-6C0B-1191-3F0AA922F79D}"/>
              </a:ext>
            </a:extLst>
          </p:cNvPr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507735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1" name="Frame 39618.png" descr="Frame 39618.png">
            <a:extLst>
              <a:ext uri="{FF2B5EF4-FFF2-40B4-BE49-F238E27FC236}">
                <a16:creationId xmlns:a16="http://schemas.microsoft.com/office/drawing/2014/main" id="{7C080071-8509-57DF-11BD-75BEDEABA12E}"/>
              </a:ext>
            </a:extLst>
          </p:cNvPr>
          <p:cNvPicPr>
            <a:picLocks noChangeAspect="1"/>
          </p:cNvPicPr>
          <p:nvPr/>
        </p:nvPicPr>
        <p:blipFill>
          <a:blip r:embed="rId106"/>
          <a:stretch>
            <a:fillRect/>
          </a:stretch>
        </p:blipFill>
        <p:spPr>
          <a:xfrm>
            <a:off x="4396415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2" name="Frame 39619.png" descr="Frame 39619.png">
            <a:extLst>
              <a:ext uri="{FF2B5EF4-FFF2-40B4-BE49-F238E27FC236}">
                <a16:creationId xmlns:a16="http://schemas.microsoft.com/office/drawing/2014/main" id="{15FBE342-B47E-C4E1-0C73-D61A2AAA068D}"/>
              </a:ext>
            </a:extLst>
          </p:cNvPr>
          <p:cNvPicPr>
            <a:picLocks noChangeAspect="1"/>
          </p:cNvPicPr>
          <p:nvPr/>
        </p:nvPicPr>
        <p:blipFill>
          <a:blip r:embed="rId107"/>
          <a:stretch>
            <a:fillRect/>
          </a:stretch>
        </p:blipFill>
        <p:spPr>
          <a:xfrm>
            <a:off x="1353996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3" name="Frame 39620.png" descr="Frame 39620.png">
            <a:extLst>
              <a:ext uri="{FF2B5EF4-FFF2-40B4-BE49-F238E27FC236}">
                <a16:creationId xmlns:a16="http://schemas.microsoft.com/office/drawing/2014/main" id="{5645BCC8-01FE-310B-2CFF-7671D0727604}"/>
              </a:ext>
            </a:extLst>
          </p:cNvPr>
          <p:cNvPicPr>
            <a:picLocks noChangeAspect="1"/>
          </p:cNvPicPr>
          <p:nvPr/>
        </p:nvPicPr>
        <p:blipFill>
          <a:blip r:embed="rId108"/>
          <a:stretch>
            <a:fillRect/>
          </a:stretch>
        </p:blipFill>
        <p:spPr>
          <a:xfrm>
            <a:off x="368109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4" name="Frame 39622.png" descr="Frame 39622.png">
            <a:extLst>
              <a:ext uri="{FF2B5EF4-FFF2-40B4-BE49-F238E27FC236}">
                <a16:creationId xmlns:a16="http://schemas.microsoft.com/office/drawing/2014/main" id="{5BF7345D-8000-664A-3E21-586DBC174285}"/>
              </a:ext>
            </a:extLst>
          </p:cNvPr>
          <p:cNvPicPr>
            <a:picLocks noChangeAspect="1"/>
          </p:cNvPicPr>
          <p:nvPr/>
        </p:nvPicPr>
        <p:blipFill>
          <a:blip r:embed="rId109"/>
          <a:stretch>
            <a:fillRect/>
          </a:stretch>
        </p:blipFill>
        <p:spPr>
          <a:xfrm>
            <a:off x="1416471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5" name="Frame 39626.png" descr="Frame 39626.png">
            <a:extLst>
              <a:ext uri="{FF2B5EF4-FFF2-40B4-BE49-F238E27FC236}">
                <a16:creationId xmlns:a16="http://schemas.microsoft.com/office/drawing/2014/main" id="{B26893A6-0AB0-56C5-70D8-A69547D4D684}"/>
              </a:ext>
            </a:extLst>
          </p:cNvPr>
          <p:cNvPicPr>
            <a:picLocks noChangeAspect="1"/>
          </p:cNvPicPr>
          <p:nvPr/>
        </p:nvPicPr>
        <p:blipFill>
          <a:blip r:embed="rId110"/>
          <a:stretch>
            <a:fillRect/>
          </a:stretch>
        </p:blipFill>
        <p:spPr>
          <a:xfrm>
            <a:off x="7869879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6" name="Frame 39632.png" descr="Frame 39632.png">
            <a:extLst>
              <a:ext uri="{FF2B5EF4-FFF2-40B4-BE49-F238E27FC236}">
                <a16:creationId xmlns:a16="http://schemas.microsoft.com/office/drawing/2014/main" id="{314FD6AD-D07A-B741-820F-05FA35FA27BF}"/>
              </a:ext>
            </a:extLst>
          </p:cNvPr>
          <p:cNvPicPr>
            <a:picLocks noChangeAspect="1"/>
          </p:cNvPicPr>
          <p:nvPr/>
        </p:nvPicPr>
        <p:blipFill>
          <a:blip r:embed="rId111"/>
          <a:stretch>
            <a:fillRect/>
          </a:stretch>
        </p:blipFill>
        <p:spPr>
          <a:xfrm>
            <a:off x="4893073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7" name="Frame 39634.png" descr="Frame 39634.png">
            <a:extLst>
              <a:ext uri="{FF2B5EF4-FFF2-40B4-BE49-F238E27FC236}">
                <a16:creationId xmlns:a16="http://schemas.microsoft.com/office/drawing/2014/main" id="{4FFC8AD8-592B-D23E-C435-E7EFE0E49AE1}"/>
              </a:ext>
            </a:extLst>
          </p:cNvPr>
          <p:cNvPicPr>
            <a:picLocks noChangeAspect="1"/>
          </p:cNvPicPr>
          <p:nvPr/>
        </p:nvPicPr>
        <p:blipFill>
          <a:blip r:embed="rId112"/>
          <a:stretch>
            <a:fillRect/>
          </a:stretch>
        </p:blipFill>
        <p:spPr>
          <a:xfrm>
            <a:off x="414651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8" name="Frame 39638.png" descr="Frame 39638.png">
            <a:extLst>
              <a:ext uri="{FF2B5EF4-FFF2-40B4-BE49-F238E27FC236}">
                <a16:creationId xmlns:a16="http://schemas.microsoft.com/office/drawing/2014/main" id="{E808E58B-43BA-C545-656F-8E6946BD0A8A}"/>
              </a:ext>
            </a:extLst>
          </p:cNvPr>
          <p:cNvPicPr>
            <a:picLocks noChangeAspect="1"/>
          </p:cNvPicPr>
          <p:nvPr/>
        </p:nvPicPr>
        <p:blipFill>
          <a:blip r:embed="rId113"/>
          <a:stretch>
            <a:fillRect/>
          </a:stretch>
        </p:blipFill>
        <p:spPr>
          <a:xfrm>
            <a:off x="740445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9" name="Frame 39640.png" descr="Frame 39640.png">
            <a:extLst>
              <a:ext uri="{FF2B5EF4-FFF2-40B4-BE49-F238E27FC236}">
                <a16:creationId xmlns:a16="http://schemas.microsoft.com/office/drawing/2014/main" id="{54E6B0E7-79B5-437D-B6CD-82AD6D432688}"/>
              </a:ext>
            </a:extLst>
          </p:cNvPr>
          <p:cNvPicPr>
            <a:picLocks noChangeAspect="1"/>
          </p:cNvPicPr>
          <p:nvPr/>
        </p:nvPicPr>
        <p:blipFill>
          <a:blip r:embed="rId114"/>
          <a:stretch>
            <a:fillRect/>
          </a:stretch>
        </p:blipFill>
        <p:spPr>
          <a:xfrm>
            <a:off x="693903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0" name="Frame 39644.png" descr="Frame 39644.png">
            <a:extLst>
              <a:ext uri="{FF2B5EF4-FFF2-40B4-BE49-F238E27FC236}">
                <a16:creationId xmlns:a16="http://schemas.microsoft.com/office/drawing/2014/main" id="{34B2BB4B-477E-8645-CA6F-9464C712BF3E}"/>
              </a:ext>
            </a:extLst>
          </p:cNvPr>
          <p:cNvPicPr>
            <a:picLocks noChangeAspect="1"/>
          </p:cNvPicPr>
          <p:nvPr/>
        </p:nvPicPr>
        <p:blipFill>
          <a:blip r:embed="rId115"/>
          <a:stretch>
            <a:fillRect/>
          </a:stretch>
        </p:blipFill>
        <p:spPr>
          <a:xfrm>
            <a:off x="888576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1" name="Frame 39650.png" descr="Frame 39650.png">
            <a:extLst>
              <a:ext uri="{FF2B5EF4-FFF2-40B4-BE49-F238E27FC236}">
                <a16:creationId xmlns:a16="http://schemas.microsoft.com/office/drawing/2014/main" id="{98B98B1B-E6A4-246D-3E42-877ABBFCA5CE}"/>
              </a:ext>
            </a:extLst>
          </p:cNvPr>
          <p:cNvPicPr>
            <a:picLocks noChangeAspect="1"/>
          </p:cNvPicPr>
          <p:nvPr/>
        </p:nvPicPr>
        <p:blipFill>
          <a:blip r:embed="rId116"/>
          <a:stretch>
            <a:fillRect/>
          </a:stretch>
        </p:blipFill>
        <p:spPr>
          <a:xfrm>
            <a:off x="275025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2" name="Frame 39656.png" descr="Frame 39656.png">
            <a:extLst>
              <a:ext uri="{FF2B5EF4-FFF2-40B4-BE49-F238E27FC236}">
                <a16:creationId xmlns:a16="http://schemas.microsoft.com/office/drawing/2014/main" id="{B49CE8F3-1E04-4BB6-152D-1D8A49244A0A}"/>
              </a:ext>
            </a:extLst>
          </p:cNvPr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423156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3" name="Frame 39662.png" descr="Frame 39662.png">
            <a:extLst>
              <a:ext uri="{FF2B5EF4-FFF2-40B4-BE49-F238E27FC236}">
                <a16:creationId xmlns:a16="http://schemas.microsoft.com/office/drawing/2014/main" id="{F4E6A93C-0708-DDE5-D3F1-A69D6EAEBA62}"/>
              </a:ext>
            </a:extLst>
          </p:cNvPr>
          <p:cNvPicPr>
            <a:picLocks noChangeAspect="1"/>
          </p:cNvPicPr>
          <p:nvPr/>
        </p:nvPicPr>
        <p:blipFill>
          <a:blip r:embed="rId118"/>
          <a:stretch>
            <a:fillRect/>
          </a:stretch>
        </p:blipFill>
        <p:spPr>
          <a:xfrm>
            <a:off x="693903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4" name="Frame 39668.png" descr="Frame 39668.png">
            <a:extLst>
              <a:ext uri="{FF2B5EF4-FFF2-40B4-BE49-F238E27FC236}">
                <a16:creationId xmlns:a16="http://schemas.microsoft.com/office/drawing/2014/main" id="{F65A5F56-D35B-732F-F757-EE68AF91C825}"/>
              </a:ext>
            </a:extLst>
          </p:cNvPr>
          <p:cNvPicPr>
            <a:picLocks noChangeAspect="1"/>
          </p:cNvPicPr>
          <p:nvPr/>
        </p:nvPicPr>
        <p:blipFill>
          <a:blip r:embed="rId119"/>
          <a:stretch>
            <a:fillRect/>
          </a:stretch>
        </p:blipFill>
        <p:spPr>
          <a:xfrm>
            <a:off x="6418206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5" name="Frame 39674.png" descr="Frame 39674.png">
            <a:extLst>
              <a:ext uri="{FF2B5EF4-FFF2-40B4-BE49-F238E27FC236}">
                <a16:creationId xmlns:a16="http://schemas.microsoft.com/office/drawing/2014/main" id="{5116AFB3-025D-DFB7-AAFA-8BB96B92B8A3}"/>
              </a:ext>
            </a:extLst>
          </p:cNvPr>
          <p:cNvPicPr>
            <a:picLocks noChangeAspect="1"/>
          </p:cNvPicPr>
          <p:nvPr/>
        </p:nvPicPr>
        <p:blipFill>
          <a:blip r:embed="rId120"/>
          <a:stretch>
            <a:fillRect/>
          </a:stretch>
        </p:blipFill>
        <p:spPr>
          <a:xfrm>
            <a:off x="368109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6" name="Frame 39680.png" descr="Frame 39680.png">
            <a:extLst>
              <a:ext uri="{FF2B5EF4-FFF2-40B4-BE49-F238E27FC236}">
                <a16:creationId xmlns:a16="http://schemas.microsoft.com/office/drawing/2014/main" id="{54E93526-69C7-0728-5C33-E3959B137F3A}"/>
              </a:ext>
            </a:extLst>
          </p:cNvPr>
          <p:cNvPicPr>
            <a:picLocks noChangeAspect="1"/>
          </p:cNvPicPr>
          <p:nvPr/>
        </p:nvPicPr>
        <p:blipFill>
          <a:blip r:embed="rId121"/>
          <a:stretch>
            <a:fillRect/>
          </a:stretch>
        </p:blipFill>
        <p:spPr>
          <a:xfrm>
            <a:off x="6473619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7" name="Frame 39698.png" descr="Frame 39698.png">
            <a:extLst>
              <a:ext uri="{FF2B5EF4-FFF2-40B4-BE49-F238E27FC236}">
                <a16:creationId xmlns:a16="http://schemas.microsoft.com/office/drawing/2014/main" id="{23AF82EB-754E-6706-2831-86ACF0D3C35D}"/>
              </a:ext>
            </a:extLst>
          </p:cNvPr>
          <p:cNvPicPr>
            <a:picLocks noChangeAspect="1"/>
          </p:cNvPicPr>
          <p:nvPr/>
        </p:nvPicPr>
        <p:blipFill>
          <a:blip r:embed="rId122"/>
          <a:stretch>
            <a:fillRect/>
          </a:stretch>
        </p:blipFill>
        <p:spPr>
          <a:xfrm>
            <a:off x="423156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831963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E12B7B-9537-0DD5-1CEB-05BBCD66B0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029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E12B7B-9537-0DD5-1CEB-05BBCD66B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0273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F61A02-F35C-7F09-A9DF-BAD505DB15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0789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F61A02-F35C-7F09-A9DF-BAD505DB1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90740B-1A90-40EF-B00D-0C3F5C254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729EAF-ED4A-44D6-A099-1E48B4805CFB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C5D094E-6CEE-4B26-93B8-580794F6AFB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071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0F063-038A-B1C8-27F2-FAEE51B12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4ED21B-BAC1-D6AA-CF05-0742D57F6217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2DAE4E7-1F0D-9461-363F-5619D05565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806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46F9E-4C0F-083C-119F-2308955E8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58ABAE-4D2F-7E11-5B69-C240E1DC3F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B382A0-F872-2153-0455-7B8DD5E8C038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B5D52A-CAA7-D4AD-5375-539C0B8C94CB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660198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CB46A2-574A-72C5-EF29-D217EEF68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138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CB46A2-574A-72C5-EF29-D217EEF68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22617E-3F3E-94B1-6A6D-01E17334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56A5D7-8481-F1D6-962B-CB6E2FBC78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6A09B1-7640-416C-7CC4-97CAF965A1E6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3474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B1A9E97-D1A5-B55B-F80D-447526683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3817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1A9E97-D1A5-B55B-F80D-447526683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30013D-EF2D-A000-A751-D262BCCD3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B7F3E8-0F69-7892-14FF-316B254722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489C49-791F-0B65-2B1C-69F8E00EE19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329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F68BA81-1CA5-F462-4411-43C586E37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651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68BA81-1CA5-F462-4411-43C586E37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5DA6A2-726E-5415-3439-3B157E40D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51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CE08C5-D6BC-397C-2FF4-66EF2D949D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24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E08C5-D6BC-397C-2FF4-66EF2D949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867713-6347-DBE2-AA1A-EDCDC1BC0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351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-%y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FY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3.95867255582448107631E+00&quot;&gt;&lt;m_msothmcolidx val=&quot;0&quot;/&gt;&lt;m_rgb r=&quot;00&quot; g=&quot;B0&quot; b=&quot;F0&quot;/&gt;&lt;/elem&gt;&lt;elem m_fUsage=&quot;2.05658999999999991815E+00&quot;&gt;&lt;m_msothmcolidx val=&quot;0&quot;/&gt;&lt;m_rgb r=&quot;C7&quot; g=&quot;E2&quot; b=&quot;A0&quot;/&gt;&lt;/elem&gt;&lt;elem m_fUsage=&quot;9.61908210000000152284E-01&quot;&gt;&lt;m_msothmcolidx val=&quot;0&quot;/&gt;&lt;m_rgb r=&quot;08&quot; g=&quot;59&quot; b=&quot;A4&quot;/&gt;&lt;/elem&gt;&lt;elem m_fUsage=&quot;4.78296900000000135833E-01&quot;&gt;&lt;m_msothmcolidx val=&quot;0&quot;/&gt;&lt;m_rgb r=&quot;E4&quot; g=&quot;44&quot; b=&quot;24&quot;/&gt;&lt;/elem&gt;&lt;elem m_fUsage=&quot;3.87420489000000145552E-01&quot;&gt;&lt;m_msothmcolidx val=&quot;0&quot;/&gt;&lt;m_rgb r=&quot;E3&quot; g=&quot;66&quot; b=&quot;4D&quot;/&gt;&lt;/elem&gt;&lt;elem m_fUsage=&quot;3.48678440100000153201E-01&quot;&gt;&lt;m_msothmcolidx val=&quot;0&quot;/&gt;&lt;m_rgb r=&quot;4D&quot; g=&quot;82&quot; b=&quot;A7&quot;/&gt;&lt;/elem&gt;&lt;elem m_fUsage=&quot;3.13810596090000171188E-01&quot;&gt;&lt;m_msothmcolidx val=&quot;0&quot;/&gt;&lt;m_rgb r=&quot;B5&quot; g=&quot;54&quot; b=&quot;81&quot;/&gt;&lt;/elem&gt;&lt;elem m_fUsage=&quot;2.82429536481000165171E-01&quot;&gt;&lt;m_msothmcolidx val=&quot;0&quot;/&gt;&lt;m_rgb r=&quot;01&quot; g=&quot;A6&quot; b=&quot;C8&quot;/&gt;&lt;/elem&gt;&lt;elem m_fUsage=&quot;2.54186582832900132001E-01&quot;&gt;&lt;m_msothmcolidx val=&quot;0&quot;/&gt;&lt;m_rgb r=&quot;01&quot; g=&quot;A4&quot; b=&quot;C6&quot;/&gt;&lt;/elem&gt;&lt;elem m_fUsage=&quot;2.28767924549610118801E-01&quot;&gt;&lt;m_msothmcolidx val=&quot;0&quot;/&gt;&lt;m_rgb r=&quot;F5&quot; g=&quot;73&quot; b=&quot;34&quot;/&gt;&lt;/elem&gt;&lt;elem m_fUsage=&quot;2.05891132094649098594E-01&quot;&gt;&lt;m_msothmcolidx val=&quot;0&quot;/&gt;&lt;m_rgb r=&quot;BE&quot; g=&quot;D7&quot; b=&quot;33&quot;/&gt;&lt;/elem&gt;&lt;elem m_fUsage=&quot;1.21389960133063315451E-01&quot;&gt;&lt;m_msothmcolidx val=&quot;0&quot;/&gt;&lt;m_rgb r=&quot;C0&quot; g=&quot;00&quot; b=&quot;00&quot;/&gt;&lt;/elem&gt;&lt;elem m_fUsage=&quot;9.22133888396934608966E-02&quot;&gt;&lt;m_msothmcolidx val=&quot;0&quot;/&gt;&lt;m_rgb r=&quot;FF&quot; g=&quot;CC&quot; b=&quot;CC&quot;/&gt;&lt;/elem&gt;&lt;elem m_fUsage=&quot;5.57349833523367588217E-02&quot;&gt;&lt;m_msothmcolidx val=&quot;0&quot;/&gt;&lt;m_rgb r=&quot;CC&quot; g=&quot;FF&quot; b=&quot;99&quot;/&gt;&lt;/elem&gt;&lt;elem m_fUsage=&quot;4.53071146403777116896E-02&quot;&gt;&lt;m_msothmcolidx val=&quot;0&quot;/&gt;&lt;m_rgb r=&quot;00&quot; g=&quot;80&quot; b=&quot;00&quot;/&gt;&lt;/elem&gt;&lt;elem m_fUsage=&quot;4.23911582752162438559E-02&quot;&gt;&lt;m_msothmcolidx val=&quot;0&quot;/&gt;&lt;m_rgb r=&quot;30&quot; g=&quot;30&quot; b=&quot;30&quot;/&gt;&lt;/elem&gt;&lt;elem m_fUsage=&quot;2.83957184508226989639E-02&quot;&gt;&lt;m_msothmcolidx val=&quot;0&quot;/&gt;&lt;m_rgb r=&quot;FD&quot; g=&quot;F0&quot; b=&quot;99&quot;/&gt;&lt;/elem&gt;&lt;elem m_fUsage=&quot;2.78128389443693807559E-02&quot;&gt;&lt;m_msothmcolidx val=&quot;0&quot;/&gt;&lt;m_rgb r=&quot;8A&quot; g=&quot;D9&quot; b=&quot;03&quot;/&gt;&lt;/elem&gt;&lt;elem m_fUsage=&quot;1.82480036314007498799E-02&quot;&gt;&lt;m_msothmcolidx val=&quot;0&quot;/&gt;&lt;m_rgb r=&quot;33&quot; g=&quot;CC&quot; b=&quot;33&quot;/&gt;&lt;/elem&gt;&lt;elem m_fUsage=&quot;1.33027946472911474951E-02&quot;&gt;&lt;m_msothmcolidx val=&quot;0&quot;/&gt;&lt;m_rgb r=&quot;A7&quot; g=&quot;E3&quot; b=&quot;F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kkFKHiGHeCf_8UyjUR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ST7C22EE2cwyMN_4RO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58l42vD0qG8Jp_LKhp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6oHG6ex0CeAiDwUhz_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Page">
  <a:themeElements>
    <a:clrScheme name="Custom 1">
      <a:dk1>
        <a:srgbClr val="303130"/>
      </a:dk1>
      <a:lt1>
        <a:srgbClr val="FFFFFF"/>
      </a:lt1>
      <a:dk2>
        <a:srgbClr val="44197E"/>
      </a:dk2>
      <a:lt2>
        <a:srgbClr val="F3F3F3"/>
      </a:lt2>
      <a:accent1>
        <a:srgbClr val="7F7F7F"/>
      </a:accent1>
      <a:accent2>
        <a:srgbClr val="0070C0"/>
      </a:accent2>
      <a:accent3>
        <a:srgbClr val="90C642"/>
      </a:accent3>
      <a:accent4>
        <a:srgbClr val="40C3F0"/>
      </a:accent4>
      <a:accent5>
        <a:srgbClr val="F6BC15"/>
      </a:accent5>
      <a:accent6>
        <a:srgbClr val="F15C54"/>
      </a:accent6>
      <a:hlink>
        <a:srgbClr val="F2F2F2"/>
      </a:hlink>
      <a:folHlink>
        <a:srgbClr val="0020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latin typeface="IBM Plex Sans" panose="020B060402020202020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AA1872CEEF6B479457931568B20E2B" ma:contentTypeVersion="8" ma:contentTypeDescription="Create a new document." ma:contentTypeScope="" ma:versionID="15c695566b82b0969f1faf28baf8ffa0">
  <xsd:schema xmlns:xsd="http://www.w3.org/2001/XMLSchema" xmlns:xs="http://www.w3.org/2001/XMLSchema" xmlns:p="http://schemas.microsoft.com/office/2006/metadata/properties" xmlns:ns2="940fc0ab-afcb-42a4-b589-d4c6c75ddf2d" xmlns:ns3="33927f13-0167-4747-93d1-4cfa56c63106" targetNamespace="http://schemas.microsoft.com/office/2006/metadata/properties" ma:root="true" ma:fieldsID="013ed709ffa9751d530688b460144000" ns2:_="" ns3:_="">
    <xsd:import namespace="940fc0ab-afcb-42a4-b589-d4c6c75ddf2d"/>
    <xsd:import namespace="33927f13-0167-4747-93d1-4cfa56c6310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0fc0ab-afcb-42a4-b589-d4c6c75ddf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927f13-0167-4747-93d1-4cfa56c6310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3927f13-0167-4747-93d1-4cfa56c63106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C89D8F4-16DE-40E1-89C0-E0C6CBD5504B}"/>
</file>

<file path=customXml/itemProps2.xml><?xml version="1.0" encoding="utf-8"?>
<ds:datastoreItem xmlns:ds="http://schemas.openxmlformats.org/officeDocument/2006/customXml" ds:itemID="{CD51DF20-F5FC-46D5-974D-45D4B0D634CB}"/>
</file>

<file path=customXml/itemProps3.xml><?xml version="1.0" encoding="utf-8"?>
<ds:datastoreItem xmlns:ds="http://schemas.openxmlformats.org/officeDocument/2006/customXml" ds:itemID="{0FFAFD70-A271-4D83-BAD4-59DAA425E7FB}"/>
</file>

<file path=docProps/app.xml><?xml version="1.0" encoding="utf-8"?>
<Properties xmlns="http://schemas.openxmlformats.org/officeDocument/2006/extended-properties" xmlns:vt="http://schemas.openxmlformats.org/officeDocument/2006/docPropsVTypes">
  <TotalTime>27884</TotalTime>
  <Words>1015</Words>
  <Application>Microsoft Office PowerPoint</Application>
  <PresentationFormat>On-screen Show (16:9)</PresentationFormat>
  <Paragraphs>290</Paragraphs>
  <Slides>28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Montserrat</vt:lpstr>
      <vt:lpstr>Montserrat SemiBold</vt:lpstr>
      <vt:lpstr>Courier New</vt:lpstr>
      <vt:lpstr>Impact</vt:lpstr>
      <vt:lpstr>Calibri</vt:lpstr>
      <vt:lpstr>Arial</vt:lpstr>
      <vt:lpstr>IBM Plex Sans</vt:lpstr>
      <vt:lpstr>Wingdings</vt:lpstr>
      <vt:lpstr>Cover Pa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de Review Slide Tit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eel free to use these icons in your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shua Kanter</dc:creator>
  <cp:lastModifiedBy>Joshua Kanter</cp:lastModifiedBy>
  <cp:revision>66</cp:revision>
  <dcterms:modified xsi:type="dcterms:W3CDTF">2025-01-04T00:3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AA1872CEEF6B479457931568B20E2B</vt:lpwstr>
  </property>
  <property fmtid="{D5CDD505-2E9C-101B-9397-08002B2CF9AE}" pid="3" name="Order">
    <vt:r8>162600</vt:r8>
  </property>
  <property fmtid="{D5CDD505-2E9C-101B-9397-08002B2CF9AE}" pid="4" name="TriggerFlowInfo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xd_Signature">
    <vt:bool>false</vt:bool>
  </property>
  <property fmtid="{D5CDD505-2E9C-101B-9397-08002B2CF9AE}" pid="10" name="xd_ProgID">
    <vt:lpwstr/>
  </property>
  <property fmtid="{D5CDD505-2E9C-101B-9397-08002B2CF9AE}" pid="11" name="TemplateUrl">
    <vt:lpwstr/>
  </property>
</Properties>
</file>